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7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0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1.xml" ContentType="application/vnd.openxmlformats-officedocument.theme+xml"/>
  <Override PartName="/ppt/tags/tag14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2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9" r:id="rId5"/>
    <p:sldMasterId id="2147483994" r:id="rId6"/>
    <p:sldMasterId id="2147484005" r:id="rId7"/>
    <p:sldMasterId id="2147484014" r:id="rId8"/>
    <p:sldMasterId id="2147484023" r:id="rId9"/>
    <p:sldMasterId id="2147484032" r:id="rId10"/>
    <p:sldMasterId id="2147484041" r:id="rId11"/>
    <p:sldMasterId id="2147484052" r:id="rId12"/>
    <p:sldMasterId id="2147484061" r:id="rId13"/>
    <p:sldMasterId id="2147484070" r:id="rId14"/>
    <p:sldMasterId id="2147484082" r:id="rId15"/>
    <p:sldMasterId id="2147484092" r:id="rId16"/>
    <p:sldMasterId id="2147484101" r:id="rId17"/>
  </p:sldMasterIdLst>
  <p:notesMasterIdLst>
    <p:notesMasterId r:id="rId20"/>
  </p:notesMasterIdLst>
  <p:handoutMasterIdLst>
    <p:handoutMasterId r:id="rId21"/>
  </p:handoutMasterIdLst>
  <p:sldIdLst>
    <p:sldId id="814" r:id="rId18"/>
    <p:sldId id="867" r:id="rId19"/>
  </p:sldIdLst>
  <p:sldSz cx="9144000" cy="5143500" type="screen16x9"/>
  <p:notesSz cx="9906000" cy="68834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58">
          <p15:clr>
            <a:srgbClr val="A4A3A4"/>
          </p15:clr>
        </p15:guide>
        <p15:guide id="2" orient="horz" pos="466">
          <p15:clr>
            <a:srgbClr val="A4A3A4"/>
          </p15:clr>
        </p15:guide>
        <p15:guide id="3" orient="horz" pos="1618">
          <p15:clr>
            <a:srgbClr val="A4A3A4"/>
          </p15:clr>
        </p15:guide>
        <p15:guide id="4" orient="horz" pos="1085">
          <p15:clr>
            <a:srgbClr val="A4A3A4"/>
          </p15:clr>
        </p15:guide>
        <p15:guide id="5" orient="horz" pos="1195">
          <p15:clr>
            <a:srgbClr val="A4A3A4"/>
          </p15:clr>
        </p15:guide>
        <p15:guide id="6" orient="horz" pos="1299">
          <p15:clr>
            <a:srgbClr val="A4A3A4"/>
          </p15:clr>
        </p15:guide>
        <p15:guide id="7" orient="horz" pos="1526">
          <p15:clr>
            <a:srgbClr val="A4A3A4"/>
          </p15:clr>
        </p15:guide>
        <p15:guide id="8" pos="345">
          <p15:clr>
            <a:srgbClr val="A4A3A4"/>
          </p15:clr>
        </p15:guide>
        <p15:guide id="9" pos="2879">
          <p15:clr>
            <a:srgbClr val="A4A3A4"/>
          </p15:clr>
        </p15:guide>
        <p15:guide id="10" pos="57">
          <p15:clr>
            <a:srgbClr val="A4A3A4"/>
          </p15:clr>
        </p15:guide>
        <p15:guide id="11" pos="1847">
          <p15:clr>
            <a:srgbClr val="A4A3A4"/>
          </p15:clr>
        </p15:guide>
        <p15:guide id="12" pos="2301">
          <p15:clr>
            <a:srgbClr val="A4A3A4"/>
          </p15:clr>
        </p15:guide>
        <p15:guide id="13" pos="2687">
          <p15:clr>
            <a:srgbClr val="A4A3A4"/>
          </p15:clr>
        </p15:guide>
        <p15:guide id="14" pos="3103">
          <p15:clr>
            <a:srgbClr val="A4A3A4"/>
          </p15:clr>
        </p15:guide>
        <p15:guide id="15" pos="3490">
          <p15:clr>
            <a:srgbClr val="A4A3A4"/>
          </p15:clr>
        </p15:guide>
        <p15:guide id="16" pos="3869">
          <p15:clr>
            <a:srgbClr val="A4A3A4"/>
          </p15:clr>
        </p15:guide>
        <p15:guide id="17" pos="4672">
          <p15:clr>
            <a:srgbClr val="A4A3A4"/>
          </p15:clr>
        </p15:guide>
        <p15:guide id="18" pos="5052">
          <p15:clr>
            <a:srgbClr val="A4A3A4"/>
          </p15:clr>
        </p15:guide>
        <p15:guide id="19" pos="5493">
          <p15:clr>
            <a:srgbClr val="A4A3A4"/>
          </p15:clr>
        </p15:guide>
        <p15:guide id="20" orient="horz" pos="512">
          <p15:clr>
            <a:srgbClr val="A4A3A4"/>
          </p15:clr>
        </p15:guide>
        <p15:guide id="21" orient="horz" pos="3058">
          <p15:clr>
            <a:srgbClr val="A4A3A4"/>
          </p15:clr>
        </p15:guide>
        <p15:guide id="22" orient="horz" pos="667">
          <p15:clr>
            <a:srgbClr val="A4A3A4"/>
          </p15:clr>
        </p15:guide>
        <p15:guide id="23" orient="horz" pos="2307">
          <p15:clr>
            <a:srgbClr val="A4A3A4"/>
          </p15:clr>
        </p15:guide>
        <p15:guide id="24" orient="horz" pos="832">
          <p15:clr>
            <a:srgbClr val="A4A3A4"/>
          </p15:clr>
        </p15:guide>
        <p15:guide id="25" orient="horz" pos="770">
          <p15:clr>
            <a:srgbClr val="A4A3A4"/>
          </p15:clr>
        </p15:guide>
        <p15:guide id="26" orient="horz" pos="894">
          <p15:clr>
            <a:srgbClr val="A4A3A4"/>
          </p15:clr>
        </p15:guide>
        <p15:guide id="27" orient="horz" pos="475">
          <p15:clr>
            <a:srgbClr val="A4A3A4"/>
          </p15:clr>
        </p15:guide>
        <p15:guide id="28" orient="horz" pos="159">
          <p15:clr>
            <a:srgbClr val="A4A3A4"/>
          </p15:clr>
        </p15:guide>
        <p15:guide id="29" pos="185">
          <p15:clr>
            <a:srgbClr val="A4A3A4"/>
          </p15:clr>
        </p15:guide>
        <p15:guide id="30" pos="273">
          <p15:clr>
            <a:srgbClr val="A4A3A4"/>
          </p15:clr>
        </p15:guide>
        <p15:guide id="31" pos="2202">
          <p15:clr>
            <a:srgbClr val="A4A3A4"/>
          </p15:clr>
        </p15:guide>
        <p15:guide id="32" pos="5600">
          <p15:clr>
            <a:srgbClr val="A4A3A4"/>
          </p15:clr>
        </p15:guide>
        <p15:guide id="33" pos="4073">
          <p15:clr>
            <a:srgbClr val="A4A3A4"/>
          </p15:clr>
        </p15:guide>
        <p15:guide id="34" pos="4552">
          <p15:clr>
            <a:srgbClr val="A4A3A4"/>
          </p15:clr>
        </p15:guide>
        <p15:guide id="35" pos="3094">
          <p15:clr>
            <a:srgbClr val="A4A3A4"/>
          </p15:clr>
        </p15:guide>
        <p15:guide id="36" pos="3865">
          <p15:clr>
            <a:srgbClr val="A4A3A4"/>
          </p15:clr>
        </p15:guide>
        <p15:guide id="37" pos="5159">
          <p15:clr>
            <a:srgbClr val="A4A3A4"/>
          </p15:clr>
        </p15:guide>
        <p15:guide id="38" pos="4380">
          <p15:clr>
            <a:srgbClr val="A4A3A4"/>
          </p15:clr>
        </p15:guide>
        <p15:guide id="39" pos="1742">
          <p15:clr>
            <a:srgbClr val="A4A3A4"/>
          </p15:clr>
        </p15:guide>
        <p15:guide id="40" pos="2595">
          <p15:clr>
            <a:srgbClr val="A4A3A4"/>
          </p15:clr>
        </p15:guide>
        <p15:guide id="41" pos="4763">
          <p15:clr>
            <a:srgbClr val="A4A3A4"/>
          </p15:clr>
        </p15:guide>
        <p15:guide id="42" pos="3484">
          <p15:clr>
            <a:srgbClr val="A4A3A4"/>
          </p15:clr>
        </p15:guide>
        <p15:guide id="43" pos="1843">
          <p15:clr>
            <a:srgbClr val="A4A3A4"/>
          </p15:clr>
        </p15:guide>
        <p15:guide id="44" pos="3729">
          <p15:clr>
            <a:srgbClr val="A4A3A4"/>
          </p15:clr>
        </p15:guide>
        <p15:guide id="45" pos="2047">
          <p15:clr>
            <a:srgbClr val="A4A3A4"/>
          </p15:clr>
        </p15:guide>
        <p15:guide id="46" pos="3955">
          <p15:clr>
            <a:srgbClr val="A4A3A4"/>
          </p15:clr>
        </p15:guide>
        <p15:guide id="47" pos="5643">
          <p15:clr>
            <a:srgbClr val="A4A3A4"/>
          </p15:clr>
        </p15:guide>
        <p15:guide id="48" orient="horz" pos="236">
          <p15:clr>
            <a:srgbClr val="A4A3A4"/>
          </p15:clr>
        </p15:guide>
        <p15:guide id="49" orient="horz" pos="1525">
          <p15:clr>
            <a:srgbClr val="A4A3A4"/>
          </p15:clr>
        </p15:guide>
        <p15:guide id="50" orient="horz" pos="339">
          <p15:clr>
            <a:srgbClr val="A4A3A4"/>
          </p15:clr>
        </p15:guide>
        <p15:guide id="51" orient="horz" pos="2102">
          <p15:clr>
            <a:srgbClr val="A4A3A4"/>
          </p15:clr>
        </p15:guide>
        <p15:guide id="52" orient="horz" pos="2575">
          <p15:clr>
            <a:srgbClr val="A4A3A4"/>
          </p15:clr>
        </p15:guide>
        <p15:guide id="53" orient="horz" pos="1005">
          <p15:clr>
            <a:srgbClr val="A4A3A4"/>
          </p15:clr>
        </p15:guide>
        <p15:guide id="54" orient="horz" pos="1152">
          <p15:clr>
            <a:srgbClr val="A4A3A4"/>
          </p15:clr>
        </p15:guide>
        <p15:guide id="55" orient="horz" pos="289">
          <p15:clr>
            <a:srgbClr val="A4A3A4"/>
          </p15:clr>
        </p15:guide>
        <p15:guide id="56" pos="197">
          <p15:clr>
            <a:srgbClr val="A4A3A4"/>
          </p15:clr>
        </p15:guide>
        <p15:guide id="57" pos="1750">
          <p15:clr>
            <a:srgbClr val="A4A3A4"/>
          </p15:clr>
        </p15:guide>
        <p15:guide id="58" pos="3119">
          <p15:clr>
            <a:srgbClr val="A4A3A4"/>
          </p15:clr>
        </p15:guide>
        <p15:guide id="59" pos="5215">
          <p15:clr>
            <a:srgbClr val="A4A3A4"/>
          </p15:clr>
        </p15:guide>
        <p15:guide id="60" pos="4411">
          <p15:clr>
            <a:srgbClr val="A4A3A4"/>
          </p15:clr>
        </p15:guide>
        <p15:guide id="61" pos="850">
          <p15:clr>
            <a:srgbClr val="A4A3A4"/>
          </p15:clr>
        </p15:guide>
        <p15:guide id="62" pos="2608">
          <p15:clr>
            <a:srgbClr val="A4A3A4"/>
          </p15:clr>
        </p15:guide>
        <p15:guide id="63" pos="4794">
          <p15:clr>
            <a:srgbClr val="A4A3A4"/>
          </p15:clr>
        </p15:guide>
        <p15:guide id="64" pos="3506">
          <p15:clr>
            <a:srgbClr val="A4A3A4"/>
          </p15:clr>
        </p15:guide>
        <p15:guide id="65" pos="5649">
          <p15:clr>
            <a:srgbClr val="A4A3A4"/>
          </p15:clr>
        </p15:guide>
        <p15:guide id="66" pos="5759">
          <p15:clr>
            <a:srgbClr val="A4A3A4"/>
          </p15:clr>
        </p15:guide>
        <p15:guide id="67" pos="602">
          <p15:clr>
            <a:srgbClr val="A4A3A4"/>
          </p15:clr>
        </p15:guide>
        <p15:guide id="68" pos="2217">
          <p15:clr>
            <a:srgbClr val="A4A3A4"/>
          </p15:clr>
        </p15:guide>
        <p15:guide id="69" pos="5562">
          <p15:clr>
            <a:srgbClr val="A4A3A4"/>
          </p15:clr>
        </p15:guide>
        <p15:guide id="70" pos="5606">
          <p15:clr>
            <a:srgbClr val="A4A3A4"/>
          </p15:clr>
        </p15:guide>
        <p15:guide id="71" pos="949">
          <p15:clr>
            <a:srgbClr val="A4A3A4"/>
          </p15:clr>
        </p15:guide>
        <p15:guide id="72" pos="119">
          <p15:clr>
            <a:srgbClr val="A4A3A4"/>
          </p15:clr>
        </p15:guide>
        <p15:guide id="73" orient="horz" pos="262">
          <p15:clr>
            <a:srgbClr val="A4A3A4"/>
          </p15:clr>
        </p15:guide>
        <p15:guide id="74" orient="horz" pos="785">
          <p15:clr>
            <a:srgbClr val="A4A3A4"/>
          </p15:clr>
        </p15:guide>
        <p15:guide id="75" orient="horz" pos="2412">
          <p15:clr>
            <a:srgbClr val="A4A3A4"/>
          </p15:clr>
        </p15:guide>
        <p15:guide id="76" orient="horz" pos="293">
          <p15:clr>
            <a:srgbClr val="A4A3A4"/>
          </p15:clr>
        </p15:guide>
        <p15:guide id="77" orient="horz" pos="975">
          <p15:clr>
            <a:srgbClr val="A4A3A4"/>
          </p15:clr>
        </p15:guide>
        <p15:guide id="78" orient="horz" pos="553">
          <p15:clr>
            <a:srgbClr val="A4A3A4"/>
          </p15:clr>
        </p15:guide>
        <p15:guide id="79" pos="388">
          <p15:clr>
            <a:srgbClr val="A4A3A4"/>
          </p15:clr>
        </p15:guide>
        <p15:guide id="80" pos="108">
          <p15:clr>
            <a:srgbClr val="A4A3A4"/>
          </p15:clr>
        </p15:guide>
        <p15:guide id="81" pos="4787">
          <p15:clr>
            <a:srgbClr val="A4A3A4"/>
          </p15:clr>
        </p15:guide>
        <p15:guide id="82" pos="3883">
          <p15:clr>
            <a:srgbClr val="A4A3A4"/>
          </p15:clr>
        </p15:guide>
        <p15:guide id="83" pos="3143">
          <p15:clr>
            <a:srgbClr val="A4A3A4"/>
          </p15:clr>
        </p15:guide>
        <p15:guide id="84" pos="5197">
          <p15:clr>
            <a:srgbClr val="A4A3A4"/>
          </p15:clr>
        </p15:guide>
        <p15:guide id="85" pos="2590">
          <p15:clr>
            <a:srgbClr val="A4A3A4"/>
          </p15:clr>
        </p15:guide>
        <p15:guide id="86">
          <p15:clr>
            <a:srgbClr val="A4A3A4"/>
          </p15:clr>
        </p15:guide>
        <p15:guide id="87" pos="5377">
          <p15:clr>
            <a:srgbClr val="A4A3A4"/>
          </p15:clr>
        </p15:guide>
        <p15:guide id="88" pos="819">
          <p15:clr>
            <a:srgbClr val="A4A3A4"/>
          </p15:clr>
        </p15:guide>
        <p15:guide id="89" pos="2883">
          <p15:clr>
            <a:srgbClr val="A4A3A4"/>
          </p15:clr>
        </p15:guide>
        <p15:guide id="90" pos="164">
          <p15:clr>
            <a:srgbClr val="A4A3A4"/>
          </p15:clr>
        </p15:guide>
        <p15:guide id="91" orient="horz" pos="462">
          <p15:clr>
            <a:srgbClr val="A4A3A4"/>
          </p15:clr>
        </p15:guide>
        <p15:guide id="92" pos="75">
          <p15:clr>
            <a:srgbClr val="A4A3A4"/>
          </p15:clr>
        </p15:guide>
        <p15:guide id="93" pos="54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8">
          <p15:clr>
            <a:srgbClr val="A4A3A4"/>
          </p15:clr>
        </p15:guide>
        <p15:guide id="2" pos="312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00"/>
    <a:srgbClr val="F48D27"/>
    <a:srgbClr val="FFA080"/>
    <a:srgbClr val="A02BFF"/>
    <a:srgbClr val="FFFF00"/>
    <a:srgbClr val="00CEFF"/>
    <a:srgbClr val="8C3FFF"/>
    <a:srgbClr val="EA288C"/>
    <a:srgbClr val="00D318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32" autoAdjust="0"/>
    <p:restoredTop sz="95462" autoAdjust="0"/>
  </p:normalViewPr>
  <p:slideViewPr>
    <p:cSldViewPr snapToGrid="0" snapToObjects="1">
      <p:cViewPr varScale="1">
        <p:scale>
          <a:sx n="93" d="100"/>
          <a:sy n="93" d="100"/>
        </p:scale>
        <p:origin x="888" y="84"/>
      </p:cViewPr>
      <p:guideLst>
        <p:guide orient="horz" pos="558"/>
        <p:guide orient="horz" pos="466"/>
        <p:guide orient="horz" pos="1618"/>
        <p:guide orient="horz" pos="1085"/>
        <p:guide orient="horz" pos="1195"/>
        <p:guide orient="horz" pos="1299"/>
        <p:guide orient="horz" pos="1526"/>
        <p:guide pos="345"/>
        <p:guide pos="2879"/>
        <p:guide pos="57"/>
        <p:guide pos="1847"/>
        <p:guide pos="2301"/>
        <p:guide pos="2687"/>
        <p:guide pos="3103"/>
        <p:guide pos="3490"/>
        <p:guide pos="3869"/>
        <p:guide pos="4672"/>
        <p:guide pos="5052"/>
        <p:guide pos="5493"/>
        <p:guide orient="horz" pos="512"/>
        <p:guide orient="horz" pos="3058"/>
        <p:guide orient="horz" pos="667"/>
        <p:guide orient="horz" pos="2307"/>
        <p:guide orient="horz" pos="832"/>
        <p:guide orient="horz" pos="770"/>
        <p:guide orient="horz" pos="894"/>
        <p:guide orient="horz" pos="475"/>
        <p:guide orient="horz" pos="159"/>
        <p:guide pos="185"/>
        <p:guide pos="273"/>
        <p:guide pos="2202"/>
        <p:guide pos="5600"/>
        <p:guide pos="4073"/>
        <p:guide pos="4552"/>
        <p:guide pos="3094"/>
        <p:guide pos="3865"/>
        <p:guide pos="5159"/>
        <p:guide pos="4380"/>
        <p:guide pos="1742"/>
        <p:guide pos="2595"/>
        <p:guide pos="4763"/>
        <p:guide pos="3484"/>
        <p:guide pos="1843"/>
        <p:guide pos="3729"/>
        <p:guide pos="2047"/>
        <p:guide pos="3955"/>
        <p:guide pos="5643"/>
        <p:guide orient="horz" pos="236"/>
        <p:guide orient="horz" pos="1525"/>
        <p:guide orient="horz" pos="339"/>
        <p:guide orient="horz" pos="2102"/>
        <p:guide orient="horz" pos="2575"/>
        <p:guide orient="horz" pos="1005"/>
        <p:guide orient="horz" pos="1152"/>
        <p:guide orient="horz" pos="289"/>
        <p:guide pos="197"/>
        <p:guide pos="1750"/>
        <p:guide pos="3119"/>
        <p:guide pos="5215"/>
        <p:guide pos="4411"/>
        <p:guide pos="850"/>
        <p:guide pos="2608"/>
        <p:guide pos="4794"/>
        <p:guide pos="3506"/>
        <p:guide pos="5649"/>
        <p:guide pos="5759"/>
        <p:guide pos="602"/>
        <p:guide pos="2217"/>
        <p:guide pos="5562"/>
        <p:guide pos="5606"/>
        <p:guide pos="949"/>
        <p:guide pos="119"/>
        <p:guide orient="horz" pos="262"/>
        <p:guide orient="horz" pos="785"/>
        <p:guide orient="horz" pos="2412"/>
        <p:guide orient="horz" pos="293"/>
        <p:guide orient="horz" pos="975"/>
        <p:guide orient="horz" pos="553"/>
        <p:guide pos="388"/>
        <p:guide pos="108"/>
        <p:guide pos="4787"/>
        <p:guide pos="3883"/>
        <p:guide pos="3143"/>
        <p:guide pos="5197"/>
        <p:guide pos="2590"/>
        <p:guide/>
        <p:guide pos="5377"/>
        <p:guide pos="819"/>
        <p:guide pos="2883"/>
        <p:guide pos="164"/>
        <p:guide orient="horz" pos="462"/>
        <p:guide pos="75"/>
        <p:guide pos="54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0" d="100"/>
          <a:sy n="60" d="100"/>
        </p:scale>
        <p:origin x="-2748" y="-84"/>
      </p:cViewPr>
      <p:guideLst>
        <p:guide orient="horz" pos="2168"/>
        <p:guide pos="312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92600" cy="34417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11108" y="0"/>
            <a:ext cx="4292600" cy="34417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12/19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38036"/>
            <a:ext cx="4292600" cy="34417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11108" y="6538036"/>
            <a:ext cx="4292600" cy="34417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92600" cy="34417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11108" y="0"/>
            <a:ext cx="4292600" cy="34417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12/19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59063" y="515938"/>
            <a:ext cx="4587875" cy="2581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0600" y="3269615"/>
            <a:ext cx="7924800" cy="309753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38036"/>
            <a:ext cx="4292600" cy="34417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11108" y="6538036"/>
            <a:ext cx="4292600" cy="34417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1183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1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5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15.pn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image" Target="../media/image15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image" Target="../media/image15.pn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19964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64029" y="654801"/>
            <a:ext cx="7553536" cy="1292662"/>
          </a:xfrm>
          <a:prstGeom prst="rect">
            <a:avLst/>
          </a:prstGeom>
        </p:spPr>
        <p:txBody>
          <a:bodyPr lIns="91420" tIns="45709" rIns="91420" bIns="45709"/>
          <a:lstStyle>
            <a:lvl1pPr>
              <a:lnSpc>
                <a:spcPts val="3399"/>
              </a:lnSpc>
              <a:defRPr sz="4400" i="0">
                <a:solidFill>
                  <a:srgbClr val="A02BFF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/>
              <a:t>ANÁLISE DE RESULTADOS </a:t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FEVEREIRO 2016</a:t>
            </a:r>
            <a:endParaRPr lang="pt-BR" sz="420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53534" y="2480698"/>
            <a:ext cx="6720127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4D4D4D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>
                <a:latin typeface="Simplon BP Regular" pitchFamily="2" charset="0"/>
              </a:rPr>
              <a:t>Apresentação ao Conselho de Administração</a:t>
            </a:r>
          </a:p>
          <a:p>
            <a:endParaRPr lang="pt-BR" dirty="0" smtClean="0">
              <a:latin typeface="Simplon BP Regular" pitchFamily="2" charset="0"/>
            </a:endParaRPr>
          </a:p>
          <a:p>
            <a:r>
              <a:rPr lang="pt-BR" sz="1600" dirty="0" smtClean="0">
                <a:latin typeface="Simplon BP Regular" pitchFamily="2" charset="0"/>
              </a:rPr>
              <a:t>Rio de Janeiro, 29 de Março 2016</a:t>
            </a:r>
            <a:endParaRPr lang="pt-BR" dirty="0">
              <a:latin typeface="Simplon BP Regular" pitchFamily="2" charset="0"/>
            </a:endParaRPr>
          </a:p>
        </p:txBody>
      </p:sp>
      <p:pic>
        <p:nvPicPr>
          <p:cNvPr id="6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6633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 bwMode="auto">
          <a:xfrm>
            <a:off x="8828748" y="4932660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09" rIns="91420" bIns="45709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11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11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CaixaDeTexto 16"/>
          <p:cNvSpPr txBox="1"/>
          <p:nvPr userDrawn="1"/>
        </p:nvSpPr>
        <p:spPr>
          <a:xfrm>
            <a:off x="272955" y="322263"/>
            <a:ext cx="253848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pt-BR" sz="2000" i="1" dirty="0" smtClean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 hasCustomPrompt="1"/>
            <p:custDataLst>
              <p:tags r:id="rId1"/>
            </p:custDataLst>
          </p:nvPr>
        </p:nvSpPr>
        <p:spPr bwMode="auto">
          <a:xfrm>
            <a:off x="177696" y="26300"/>
            <a:ext cx="8267700" cy="28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07" tIns="38953" rIns="77907" bIns="38953" numCol="1" anchor="ctr" anchorCtr="0" compatLnSpc="1">
            <a:prstTxWarp prst="textNoShape">
              <a:avLst/>
            </a:prstTxWarp>
          </a:bodyPr>
          <a:lstStyle>
            <a:lvl1pPr algn="l" defTabSz="793531" rtl="0" fontAlgn="base">
              <a:spcBef>
                <a:spcPct val="0"/>
              </a:spcBef>
              <a:spcAft>
                <a:spcPct val="0"/>
              </a:spcAft>
              <a:defRPr lang="pt-BR" sz="1300" b="1" i="0" kern="120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9" name="Espaço Reservado para Texto 9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77696" y="292920"/>
            <a:ext cx="8212962" cy="230832"/>
          </a:xfrm>
          <a:prstGeom prst="rect">
            <a:avLst/>
          </a:prstGeom>
        </p:spPr>
        <p:txBody>
          <a:bodyPr lIns="91420" tIns="45709" rIns="91420" bIns="45709"/>
          <a:lstStyle>
            <a:lvl1pPr marL="0" indent="0">
              <a:buNone/>
              <a:defRPr lang="pt-BR" sz="1500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352" indent="0">
              <a:buNone/>
              <a:defRPr/>
            </a:lvl2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pic>
        <p:nvPicPr>
          <p:cNvPr id="21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594" y="4123"/>
            <a:ext cx="696769" cy="49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8483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16419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5330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5274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BR" sz="4200" b="1" i="0">
                <a:solidFill>
                  <a:srgbClr val="00CEFF"/>
                </a:solidFill>
                <a:latin typeface="Simplon Oi Headline" pitchFamily="2" charset="0"/>
                <a:ea typeface="+mn-ea"/>
                <a:cs typeface="Arial" pitchFamily="34" charset="0"/>
              </a:defRPr>
            </a:lvl1pPr>
          </a:lstStyle>
          <a:p>
            <a:pPr lvl="0" defTabSz="457200" fontAlgn="base"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8" name="Footer Placeholder 9"/>
          <p:cNvSpPr txBox="1">
            <a:spLocks/>
          </p:cNvSpPr>
          <p:nvPr/>
        </p:nvSpPr>
        <p:spPr>
          <a:xfrm>
            <a:off x="6235700" y="4876801"/>
            <a:ext cx="24479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fontAlgn="auto" latinLnBrk="0" hangingPunct="1">
              <a:spcBef>
                <a:spcPts val="0"/>
              </a:spcBef>
              <a:spcAft>
                <a:spcPts val="0"/>
              </a:spcAft>
              <a:defRPr sz="800" kern="1200" smtClean="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 dirty="0">
                <a:solidFill>
                  <a:prstClr val="black">
                    <a:tint val="75000"/>
                  </a:prstClr>
                </a:solidFill>
                <a:latin typeface="Simplon BP Regular" pitchFamily="2" charset="0"/>
                <a:cs typeface="Arial" panose="020B0604020202020204" pitchFamily="34" charset="0"/>
              </a:rPr>
              <a:t>MATERIAL CONFIDENCIAL  |  SLIDE Nº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683625" y="4849093"/>
            <a:ext cx="460375" cy="274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Simplon BP Regular" pitchFamily="2" charset="0"/>
              </a:defRPr>
            </a:lvl1pPr>
          </a:lstStyle>
          <a:p>
            <a:pPr>
              <a:defRPr/>
            </a:pPr>
            <a:fld id="{A7771DBD-8228-4A2B-96FC-7283B7EBB7ED}" type="slidenum">
              <a:rPr lang="en-US" altLang="pt-BR" smtClean="0"/>
              <a:pPr>
                <a:defRPr/>
              </a:pPr>
              <a:t>‹nº›</a:t>
            </a:fld>
            <a:endParaRPr lang="en-US" altLang="pt-BR" dirty="0"/>
          </a:p>
        </p:txBody>
      </p:sp>
    </p:spTree>
    <p:extLst>
      <p:ext uri="{BB962C8B-B14F-4D97-AF65-F5344CB8AC3E}">
        <p14:creationId xmlns:p14="http://schemas.microsoft.com/office/powerpoint/2010/main" val="1934988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9345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971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6573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8667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9142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2247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0285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8332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56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02749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25690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470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3916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2497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6937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9218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2031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9733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523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2212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5432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69287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5874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8614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4104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5966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6019678" y="4879182"/>
            <a:ext cx="24479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>
                    <a:tint val="75000"/>
                  </a:schemeClr>
                </a:solidFill>
                <a:latin typeface="Simplon BP Regular" pitchFamily="2" charset="0"/>
                <a:cs typeface="Arial"/>
              </a:defRPr>
            </a:lvl1pPr>
          </a:lstStyle>
          <a:p>
            <a:pPr>
              <a:defRPr/>
            </a:pPr>
            <a:r>
              <a:rPr lang="pt-BR" dirty="0">
                <a:solidFill>
                  <a:prstClr val="black">
                    <a:tint val="75000"/>
                  </a:prstClr>
                </a:solidFill>
              </a:rPr>
              <a:t>MATERIAL CONFIDENCIAL  |  SLIDE Nº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504113" y="4876006"/>
            <a:ext cx="460375" cy="274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Simplon BP Regular" pitchFamily="2" charset="0"/>
              </a:defRPr>
            </a:lvl1pPr>
          </a:lstStyle>
          <a:p>
            <a:pPr>
              <a:defRPr/>
            </a:pPr>
            <a:fld id="{A7771DBD-8228-4A2B-96FC-7283B7EBB7ED}" type="slidenum">
              <a:rPr lang="en-US" altLang="pt-BR" smtClean="0"/>
              <a:pPr>
                <a:defRPr/>
              </a:pPr>
              <a:t>‹nº›</a:t>
            </a:fld>
            <a:endParaRPr lang="en-US" altLang="pt-BR" dirty="0"/>
          </a:p>
        </p:txBody>
      </p:sp>
    </p:spTree>
    <p:extLst>
      <p:ext uri="{BB962C8B-B14F-4D97-AF65-F5344CB8AC3E}">
        <p14:creationId xmlns:p14="http://schemas.microsoft.com/office/powerpoint/2010/main" val="1878978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31344425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03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6019678" y="4879182"/>
            <a:ext cx="24479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>
                    <a:tint val="75000"/>
                  </a:schemeClr>
                </a:solidFill>
                <a:latin typeface="Simplon BP Regular" pitchFamily="2" charset="0"/>
                <a:cs typeface="Arial"/>
              </a:defRPr>
            </a:lvl1pPr>
          </a:lstStyle>
          <a:p>
            <a:pPr>
              <a:defRPr/>
            </a:pPr>
            <a:r>
              <a:rPr lang="pt-BR" dirty="0">
                <a:solidFill>
                  <a:prstClr val="black">
                    <a:tint val="75000"/>
                  </a:prstClr>
                </a:solidFill>
              </a:rPr>
              <a:t>MATERIAL CONFIDENCIAL  |  SLIDE Nº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504113" y="4876006"/>
            <a:ext cx="460375" cy="274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Simplon BP Regular" pitchFamily="2" charset="0"/>
              </a:defRPr>
            </a:lvl1pPr>
          </a:lstStyle>
          <a:p>
            <a:pPr>
              <a:defRPr/>
            </a:pPr>
            <a:fld id="{A7771DBD-8228-4A2B-96FC-7283B7EBB7ED}" type="slidenum">
              <a:rPr lang="en-US" altLang="pt-BR" smtClean="0"/>
              <a:pPr>
                <a:defRPr/>
              </a:pPr>
              <a:t>‹nº›</a:t>
            </a:fld>
            <a:endParaRPr lang="en-US" alt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42875" y="34925"/>
            <a:ext cx="8821613" cy="857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00" i="0">
                <a:solidFill>
                  <a:srgbClr val="00CEFF"/>
                </a:solidFill>
                <a:latin typeface="Simplon Oi Headline" pitchFamily="2" charset="0"/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33359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0671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64029" y="654801"/>
            <a:ext cx="7553536" cy="1292662"/>
          </a:xfrm>
          <a:prstGeom prst="rect">
            <a:avLst/>
          </a:prstGeom>
        </p:spPr>
        <p:txBody>
          <a:bodyPr lIns="91420" tIns="45709" rIns="91420" bIns="45709"/>
          <a:lstStyle>
            <a:lvl1pPr>
              <a:lnSpc>
                <a:spcPts val="3399"/>
              </a:lnSpc>
              <a:defRPr sz="4400" i="0">
                <a:solidFill>
                  <a:srgbClr val="A02BFF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/>
              <a:t>ANÁLISE DE RESULTADOS </a:t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FEVEREIRO 2016</a:t>
            </a:r>
            <a:endParaRPr lang="pt-BR" sz="420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53534" y="2480698"/>
            <a:ext cx="6720127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4D4D4D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>
                <a:latin typeface="Simplon BP Regular" pitchFamily="2" charset="0"/>
              </a:rPr>
              <a:t>Apresentação ao Conselho de Administração</a:t>
            </a:r>
          </a:p>
          <a:p>
            <a:endParaRPr lang="pt-BR" dirty="0" smtClean="0">
              <a:latin typeface="Simplon BP Regular" pitchFamily="2" charset="0"/>
            </a:endParaRPr>
          </a:p>
          <a:p>
            <a:r>
              <a:rPr lang="pt-BR" sz="1600" dirty="0" smtClean="0">
                <a:latin typeface="Simplon BP Regular" pitchFamily="2" charset="0"/>
              </a:rPr>
              <a:t>Rio de Janeiro, 29 de Março 2016</a:t>
            </a:r>
            <a:endParaRPr lang="pt-BR" dirty="0">
              <a:latin typeface="Simplon BP Regular" pitchFamily="2" charset="0"/>
            </a:endParaRPr>
          </a:p>
        </p:txBody>
      </p:sp>
      <p:pic>
        <p:nvPicPr>
          <p:cNvPr id="6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5119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 bwMode="auto">
          <a:xfrm>
            <a:off x="8828748" y="4932660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09" rIns="91420" bIns="45709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11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11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CaixaDeTexto 16"/>
          <p:cNvSpPr txBox="1"/>
          <p:nvPr userDrawn="1"/>
        </p:nvSpPr>
        <p:spPr>
          <a:xfrm>
            <a:off x="272955" y="322263"/>
            <a:ext cx="253848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pt-BR" sz="2000" i="1" dirty="0" smtClean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 hasCustomPrompt="1"/>
            <p:custDataLst>
              <p:tags r:id="rId1"/>
            </p:custDataLst>
          </p:nvPr>
        </p:nvSpPr>
        <p:spPr bwMode="auto">
          <a:xfrm>
            <a:off x="177696" y="26300"/>
            <a:ext cx="8267700" cy="28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07" tIns="38953" rIns="77907" bIns="38953" numCol="1" anchor="ctr" anchorCtr="0" compatLnSpc="1">
            <a:prstTxWarp prst="textNoShape">
              <a:avLst/>
            </a:prstTxWarp>
          </a:bodyPr>
          <a:lstStyle>
            <a:lvl1pPr algn="l" defTabSz="793531" rtl="0" fontAlgn="base">
              <a:spcBef>
                <a:spcPct val="0"/>
              </a:spcBef>
              <a:spcAft>
                <a:spcPct val="0"/>
              </a:spcAft>
              <a:defRPr lang="pt-BR" sz="1300" b="1" i="0" kern="120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9" name="Espaço Reservado para Texto 9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77696" y="292920"/>
            <a:ext cx="8212962" cy="230832"/>
          </a:xfrm>
          <a:prstGeom prst="rect">
            <a:avLst/>
          </a:prstGeom>
        </p:spPr>
        <p:txBody>
          <a:bodyPr lIns="91420" tIns="45709" rIns="91420" bIns="45709"/>
          <a:lstStyle>
            <a:lvl1pPr marL="0" indent="0">
              <a:buNone/>
              <a:defRPr lang="pt-BR" sz="1500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352" indent="0">
              <a:buNone/>
              <a:defRPr/>
            </a:lvl2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pic>
        <p:nvPicPr>
          <p:cNvPr id="21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594" y="4123"/>
            <a:ext cx="696769" cy="49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6341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98347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8838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38436993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6051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6077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53151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9450047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8170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9589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64029" y="654801"/>
            <a:ext cx="7553536" cy="1292662"/>
          </a:xfrm>
          <a:prstGeom prst="rect">
            <a:avLst/>
          </a:prstGeom>
        </p:spPr>
        <p:txBody>
          <a:bodyPr lIns="91420" tIns="45709" rIns="91420" bIns="45709"/>
          <a:lstStyle>
            <a:lvl1pPr>
              <a:lnSpc>
                <a:spcPts val="3399"/>
              </a:lnSpc>
              <a:defRPr sz="4400" i="0">
                <a:solidFill>
                  <a:srgbClr val="A02BFF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/>
              <a:t>ANÁLISE DE RESULTADOS </a:t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FEVEREIRO 2016</a:t>
            </a:r>
            <a:endParaRPr lang="pt-BR" sz="420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53534" y="2480698"/>
            <a:ext cx="6720127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4D4D4D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>
                <a:latin typeface="Simplon BP Regular" pitchFamily="2" charset="0"/>
              </a:rPr>
              <a:t>Apresentação ao Conselho de Administração</a:t>
            </a:r>
          </a:p>
          <a:p>
            <a:endParaRPr lang="pt-BR" dirty="0" smtClean="0">
              <a:latin typeface="Simplon BP Regular" pitchFamily="2" charset="0"/>
            </a:endParaRPr>
          </a:p>
          <a:p>
            <a:r>
              <a:rPr lang="pt-BR" sz="1600" dirty="0" smtClean="0">
                <a:latin typeface="Simplon BP Regular" pitchFamily="2" charset="0"/>
              </a:rPr>
              <a:t>Rio de Janeiro, 29 de Março 2016</a:t>
            </a:r>
            <a:endParaRPr lang="pt-BR" dirty="0">
              <a:latin typeface="Simplon BP Regular" pitchFamily="2" charset="0"/>
            </a:endParaRPr>
          </a:p>
        </p:txBody>
      </p:sp>
      <p:pic>
        <p:nvPicPr>
          <p:cNvPr id="6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7158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 bwMode="auto">
          <a:xfrm>
            <a:off x="8828748" y="4932660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09" rIns="91420" bIns="45709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11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11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CaixaDeTexto 16"/>
          <p:cNvSpPr txBox="1"/>
          <p:nvPr userDrawn="1"/>
        </p:nvSpPr>
        <p:spPr>
          <a:xfrm>
            <a:off x="272955" y="322263"/>
            <a:ext cx="253848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pt-BR" sz="2000" i="1" dirty="0" smtClean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 hasCustomPrompt="1"/>
            <p:custDataLst>
              <p:tags r:id="rId1"/>
            </p:custDataLst>
          </p:nvPr>
        </p:nvSpPr>
        <p:spPr bwMode="auto">
          <a:xfrm>
            <a:off x="177696" y="26300"/>
            <a:ext cx="8267700" cy="28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07" tIns="38953" rIns="77907" bIns="38953" numCol="1" anchor="ctr" anchorCtr="0" compatLnSpc="1">
            <a:prstTxWarp prst="textNoShape">
              <a:avLst/>
            </a:prstTxWarp>
          </a:bodyPr>
          <a:lstStyle>
            <a:lvl1pPr algn="l" defTabSz="793531" rtl="0" fontAlgn="base">
              <a:spcBef>
                <a:spcPct val="0"/>
              </a:spcBef>
              <a:spcAft>
                <a:spcPct val="0"/>
              </a:spcAft>
              <a:defRPr lang="pt-BR" sz="1300" b="1" i="0" kern="120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9" name="Espaço Reservado para Texto 9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77696" y="292920"/>
            <a:ext cx="8212962" cy="230832"/>
          </a:xfrm>
          <a:prstGeom prst="rect">
            <a:avLst/>
          </a:prstGeom>
        </p:spPr>
        <p:txBody>
          <a:bodyPr lIns="91420" tIns="45709" rIns="91420" bIns="45709"/>
          <a:lstStyle>
            <a:lvl1pPr marL="0" indent="0">
              <a:buNone/>
              <a:defRPr lang="pt-BR" sz="1500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352" indent="0">
              <a:buNone/>
              <a:defRPr/>
            </a:lvl2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pic>
        <p:nvPicPr>
          <p:cNvPr id="21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594" y="4123"/>
            <a:ext cx="696769" cy="49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9964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1899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41302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9765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9853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820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41991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861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4999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4429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713325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11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6019679" y="4879183"/>
            <a:ext cx="24479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>
                    <a:tint val="75000"/>
                  </a:schemeClr>
                </a:solidFill>
                <a:latin typeface="Simplon BP Regular" pitchFamily="2" charset="0"/>
                <a:cs typeface="Arial"/>
              </a:defRPr>
            </a:lvl1pPr>
          </a:lstStyle>
          <a:p>
            <a:pPr>
              <a:defRPr/>
            </a:pPr>
            <a:r>
              <a:rPr lang="pt-BR" dirty="0">
                <a:solidFill>
                  <a:prstClr val="black">
                    <a:tint val="75000"/>
                  </a:prstClr>
                </a:solidFill>
              </a:rPr>
              <a:t>MATERIAL CONFIDENCIAL  |  SLIDE Nº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504114" y="4876006"/>
            <a:ext cx="460375" cy="274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Simplon BP Regular" pitchFamily="2" charset="0"/>
              </a:defRPr>
            </a:lvl1pPr>
          </a:lstStyle>
          <a:p>
            <a:pPr>
              <a:defRPr/>
            </a:pPr>
            <a:fld id="{A7771DBD-8228-4A2B-96FC-7283B7EBB7ED}" type="slidenum">
              <a:rPr lang="en-US" altLang="pt-BR" smtClean="0"/>
              <a:pPr>
                <a:defRPr/>
              </a:pPr>
              <a:t>‹nº›</a:t>
            </a:fld>
            <a:endParaRPr lang="en-US" alt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42876" y="34925"/>
            <a:ext cx="8821613" cy="857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00" i="0">
                <a:solidFill>
                  <a:srgbClr val="00CEFF"/>
                </a:solidFill>
                <a:latin typeface="Simplon Oi Headline" pitchFamily="2" charset="0"/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22317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47836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3004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30321309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5897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91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6019678" y="4879182"/>
            <a:ext cx="24479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>
                    <a:tint val="75000"/>
                  </a:schemeClr>
                </a:solidFill>
                <a:latin typeface="Simplon BP Regular" pitchFamily="2" charset="0"/>
                <a:cs typeface="Arial"/>
              </a:defRPr>
            </a:lvl1pPr>
          </a:lstStyle>
          <a:p>
            <a:pPr>
              <a:defRPr/>
            </a:pPr>
            <a:r>
              <a:rPr lang="pt-BR" dirty="0">
                <a:solidFill>
                  <a:prstClr val="black">
                    <a:tint val="75000"/>
                  </a:prstClr>
                </a:solidFill>
              </a:rPr>
              <a:t>MATERIAL CONFIDENCIAL  |  SLIDE Nº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504113" y="4876006"/>
            <a:ext cx="460375" cy="274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Simplon BP Regular" pitchFamily="2" charset="0"/>
              </a:defRPr>
            </a:lvl1pPr>
          </a:lstStyle>
          <a:p>
            <a:pPr>
              <a:defRPr/>
            </a:pPr>
            <a:fld id="{A7771DBD-8228-4A2B-96FC-7283B7EBB7ED}" type="slidenum">
              <a:rPr lang="en-US" altLang="pt-BR" smtClean="0"/>
              <a:pPr>
                <a:defRPr/>
              </a:pPr>
              <a:t>‹nº›</a:t>
            </a:fld>
            <a:endParaRPr lang="en-US" alt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42875" y="34925"/>
            <a:ext cx="8821613" cy="857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00" i="0">
                <a:solidFill>
                  <a:srgbClr val="00CEFF"/>
                </a:solidFill>
                <a:latin typeface="Simplon Oi Headline" pitchFamily="2" charset="0"/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7948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64029" y="654801"/>
            <a:ext cx="7553536" cy="1292662"/>
          </a:xfrm>
          <a:prstGeom prst="rect">
            <a:avLst/>
          </a:prstGeom>
        </p:spPr>
        <p:txBody>
          <a:bodyPr lIns="91420" tIns="45709" rIns="91420" bIns="45709"/>
          <a:lstStyle>
            <a:lvl1pPr>
              <a:lnSpc>
                <a:spcPts val="3399"/>
              </a:lnSpc>
              <a:defRPr sz="4400" i="0">
                <a:solidFill>
                  <a:srgbClr val="A02BFF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/>
              <a:t>ANÁLISE DE RESULTADOS </a:t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FEVEREIRO 2016</a:t>
            </a:r>
            <a:endParaRPr lang="pt-BR" sz="420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53534" y="2480698"/>
            <a:ext cx="6720127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4D4D4D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>
                <a:latin typeface="Simplon BP Regular" pitchFamily="2" charset="0"/>
              </a:rPr>
              <a:t>Apresentação ao Conselho de Administração</a:t>
            </a:r>
          </a:p>
          <a:p>
            <a:endParaRPr lang="pt-BR" dirty="0" smtClean="0">
              <a:latin typeface="Simplon BP Regular" pitchFamily="2" charset="0"/>
            </a:endParaRPr>
          </a:p>
          <a:p>
            <a:r>
              <a:rPr lang="pt-BR" sz="1600" dirty="0" smtClean="0">
                <a:latin typeface="Simplon BP Regular" pitchFamily="2" charset="0"/>
              </a:rPr>
              <a:t>Rio de Janeiro, 29 de Março 2016</a:t>
            </a:r>
            <a:endParaRPr lang="pt-BR" dirty="0">
              <a:latin typeface="Simplon BP Regular" pitchFamily="2" charset="0"/>
            </a:endParaRPr>
          </a:p>
        </p:txBody>
      </p:sp>
      <p:pic>
        <p:nvPicPr>
          <p:cNvPr id="6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6254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64075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 bwMode="auto">
          <a:xfrm>
            <a:off x="8828748" y="4932660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09" rIns="91420" bIns="45709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11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11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CaixaDeTexto 16"/>
          <p:cNvSpPr txBox="1"/>
          <p:nvPr userDrawn="1"/>
        </p:nvSpPr>
        <p:spPr>
          <a:xfrm>
            <a:off x="272955" y="322263"/>
            <a:ext cx="253848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pt-BR" sz="2000" i="1" dirty="0" smtClean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 hasCustomPrompt="1"/>
            <p:custDataLst>
              <p:tags r:id="rId1"/>
            </p:custDataLst>
          </p:nvPr>
        </p:nvSpPr>
        <p:spPr bwMode="auto">
          <a:xfrm>
            <a:off x="177696" y="26300"/>
            <a:ext cx="8267700" cy="28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07" tIns="38953" rIns="77907" bIns="38953" numCol="1" anchor="ctr" anchorCtr="0" compatLnSpc="1">
            <a:prstTxWarp prst="textNoShape">
              <a:avLst/>
            </a:prstTxWarp>
          </a:bodyPr>
          <a:lstStyle>
            <a:lvl1pPr algn="l" defTabSz="793531" rtl="0" fontAlgn="base">
              <a:spcBef>
                <a:spcPct val="0"/>
              </a:spcBef>
              <a:spcAft>
                <a:spcPct val="0"/>
              </a:spcAft>
              <a:defRPr lang="pt-BR" sz="1300" b="1" i="0" kern="120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9" name="Espaço Reservado para Texto 9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77696" y="292920"/>
            <a:ext cx="8212962" cy="230832"/>
          </a:xfrm>
          <a:prstGeom prst="rect">
            <a:avLst/>
          </a:prstGeom>
        </p:spPr>
        <p:txBody>
          <a:bodyPr lIns="91420" tIns="45709" rIns="91420" bIns="45709"/>
          <a:lstStyle>
            <a:lvl1pPr marL="0" indent="0">
              <a:buNone/>
              <a:defRPr lang="pt-BR" sz="1500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352" indent="0">
              <a:buNone/>
              <a:defRPr/>
            </a:lvl2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pic>
        <p:nvPicPr>
          <p:cNvPr id="21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594" y="4123"/>
            <a:ext cx="696769" cy="49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6775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6019678" y="4879182"/>
            <a:ext cx="24479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>
                    <a:tint val="75000"/>
                  </a:schemeClr>
                </a:solidFill>
                <a:latin typeface="Simplon BP Regular" pitchFamily="2" charset="0"/>
                <a:cs typeface="Arial"/>
              </a:defRPr>
            </a:lvl1pPr>
          </a:lstStyle>
          <a:p>
            <a:pPr>
              <a:defRPr/>
            </a:pPr>
            <a:r>
              <a:rPr lang="pt-BR" dirty="0">
                <a:solidFill>
                  <a:prstClr val="black">
                    <a:tint val="75000"/>
                  </a:prstClr>
                </a:solidFill>
              </a:rPr>
              <a:t>MATERIAL CONFIDENCIAL  |  SLIDE Nº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504113" y="4876006"/>
            <a:ext cx="460375" cy="274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Simplon BP Regular" pitchFamily="2" charset="0"/>
              </a:defRPr>
            </a:lvl1pPr>
          </a:lstStyle>
          <a:p>
            <a:pPr>
              <a:defRPr/>
            </a:pPr>
            <a:fld id="{A7771DBD-8228-4A2B-96FC-7283B7EBB7ED}" type="slidenum">
              <a:rPr lang="en-US" altLang="pt-BR" smtClean="0"/>
              <a:pPr>
                <a:defRPr/>
              </a:pPr>
              <a:t>‹nº›</a:t>
            </a:fld>
            <a:endParaRPr lang="en-US" altLang="pt-BR" dirty="0"/>
          </a:p>
        </p:txBody>
      </p:sp>
    </p:spTree>
    <p:extLst>
      <p:ext uri="{BB962C8B-B14F-4D97-AF65-F5344CB8AC3E}">
        <p14:creationId xmlns:p14="http://schemas.microsoft.com/office/powerpoint/2010/main" val="2627537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53847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06798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94499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4606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23045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63966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54091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092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16375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5274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BR" sz="4200" b="1" i="0">
                <a:solidFill>
                  <a:srgbClr val="00CEFF"/>
                </a:solidFill>
                <a:latin typeface="Simplon Oi Headline" pitchFamily="2" charset="0"/>
                <a:ea typeface="+mn-ea"/>
                <a:cs typeface="Arial" pitchFamily="34" charset="0"/>
              </a:defRPr>
            </a:lvl1pPr>
          </a:lstStyle>
          <a:p>
            <a:pPr lvl="0" defTabSz="457200" fontAlgn="base"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8" name="Footer Placeholder 9"/>
          <p:cNvSpPr txBox="1">
            <a:spLocks/>
          </p:cNvSpPr>
          <p:nvPr/>
        </p:nvSpPr>
        <p:spPr>
          <a:xfrm>
            <a:off x="6235700" y="4876801"/>
            <a:ext cx="24479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fontAlgn="auto" latinLnBrk="0" hangingPunct="1">
              <a:spcBef>
                <a:spcPts val="0"/>
              </a:spcBef>
              <a:spcAft>
                <a:spcPts val="0"/>
              </a:spcAft>
              <a:defRPr sz="800" kern="1200" smtClean="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 dirty="0">
                <a:solidFill>
                  <a:prstClr val="black">
                    <a:tint val="75000"/>
                  </a:prstClr>
                </a:solidFill>
                <a:latin typeface="Simplon BP Regular" pitchFamily="2" charset="0"/>
                <a:cs typeface="Arial" panose="020B0604020202020204" pitchFamily="34" charset="0"/>
              </a:rPr>
              <a:t>MATERIAL CONFIDENCIAL  |  SLIDE Nº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683625" y="4849093"/>
            <a:ext cx="460375" cy="274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Simplon BP Regular" pitchFamily="2" charset="0"/>
              </a:defRPr>
            </a:lvl1pPr>
          </a:lstStyle>
          <a:p>
            <a:pPr>
              <a:defRPr/>
            </a:pPr>
            <a:fld id="{A7771DBD-8228-4A2B-96FC-7283B7EBB7ED}" type="slidenum">
              <a:rPr lang="en-US" altLang="pt-BR" smtClean="0"/>
              <a:pPr>
                <a:defRPr/>
              </a:pPr>
              <a:t>‹nº›</a:t>
            </a:fld>
            <a:endParaRPr lang="en-US" altLang="pt-BR" dirty="0"/>
          </a:p>
        </p:txBody>
      </p:sp>
    </p:spTree>
    <p:extLst>
      <p:ext uri="{BB962C8B-B14F-4D97-AF65-F5344CB8AC3E}">
        <p14:creationId xmlns:p14="http://schemas.microsoft.com/office/powerpoint/2010/main" val="1575097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857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6147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9363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6354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4138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5896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8140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3503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8359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uias H"/>
          <p:cNvGrpSpPr/>
          <p:nvPr userDrawn="1"/>
        </p:nvGrpSpPr>
        <p:grpSpPr>
          <a:xfrm>
            <a:off x="-45868" y="323999"/>
            <a:ext cx="33137" cy="4499598"/>
            <a:chOff x="-45868" y="323999"/>
            <a:chExt cx="33137" cy="4499598"/>
          </a:xfrm>
        </p:grpSpPr>
        <p:sp>
          <p:nvSpPr>
            <p:cNvPr id="52" name="Rectangle 51"/>
            <p:cNvSpPr/>
            <p:nvPr userDrawn="1"/>
          </p:nvSpPr>
          <p:spPr>
            <a:xfrm>
              <a:off x="-45868" y="323999"/>
              <a:ext cx="33137" cy="50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-45868" y="917932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-45868" y="1583865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-45868" y="2249798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-45868" y="2915731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-45868" y="3581664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4" name="Rectangle 83"/>
            <p:cNvSpPr/>
            <p:nvPr userDrawn="1"/>
          </p:nvSpPr>
          <p:spPr>
            <a:xfrm flipV="1">
              <a:off x="-45868" y="4247597"/>
              <a:ext cx="33137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  <p:sp>
          <p:nvSpPr>
            <p:cNvPr id="85" name="Rectangle 84"/>
            <p:cNvSpPr/>
            <p:nvPr userDrawn="1"/>
          </p:nvSpPr>
          <p:spPr>
            <a:xfrm flipV="1">
              <a:off x="-45868" y="4247597"/>
              <a:ext cx="33137" cy="505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2000"/>
                </a:lnSpc>
                <a:spcBef>
                  <a:spcPts val="900"/>
                </a:spcBef>
              </a:pPr>
              <a:endParaRPr lang="en-US" i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6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4" y="2249800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3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3174961" y="49274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3138083" y="2807473"/>
            <a:ext cx="2739264" cy="1155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3138083" y="4094616"/>
            <a:ext cx="2739264" cy="268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 BP Regular 14pt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4900" y="133583"/>
            <a:ext cx="710468" cy="50747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24900" y="677655"/>
            <a:ext cx="710468" cy="5074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24900" y="1223910"/>
            <a:ext cx="710468" cy="50747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24900" y="1763616"/>
            <a:ext cx="710468" cy="507477"/>
          </a:xfrm>
          <a:prstGeom prst="rect">
            <a:avLst/>
          </a:prstGeom>
          <a:solidFill>
            <a:srgbClr val="4D4D4D"/>
          </a:solidFill>
        </p:spPr>
      </p:pic>
      <p:sp>
        <p:nvSpPr>
          <p:cNvPr id="36" name="Rectangle 35"/>
          <p:cNvSpPr/>
          <p:nvPr userDrawn="1"/>
        </p:nvSpPr>
        <p:spPr>
          <a:xfrm>
            <a:off x="10035368" y="130843"/>
            <a:ext cx="8866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</a:t>
            </a:r>
            <a:r>
              <a:rPr lang="hr-H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gent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qu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0043896" y="90730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BD3E96"/>
                </a:solidFill>
                <a:latin typeface="Simplon BP Regular"/>
                <a:cs typeface="Simplon BP Regular"/>
              </a:rPr>
              <a:t>R 185  G 65  B 140</a:t>
            </a:r>
            <a:endParaRPr lang="en-US" sz="1200" dirty="0">
              <a:solidFill>
                <a:srgbClr val="BD3E96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0043896" y="36048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F99D1C"/>
                </a:solidFill>
                <a:latin typeface="Simplon BP Regular"/>
                <a:cs typeface="Simplon BP Regular"/>
              </a:rPr>
              <a:t>R 255  G 168  B 0</a:t>
            </a:r>
            <a:endParaRPr lang="en-US" sz="1200" dirty="0">
              <a:solidFill>
                <a:srgbClr val="F99D1C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10043896" y="141868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00AAAD"/>
                </a:solidFill>
                <a:latin typeface="Simplon BP Regular"/>
                <a:cs typeface="Simplon BP Regular"/>
              </a:rPr>
              <a:t>R 0  G 165  B 150</a:t>
            </a:r>
            <a:endParaRPr lang="en-US" sz="1200" dirty="0">
              <a:solidFill>
                <a:srgbClr val="00AAAD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10043896" y="197331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333333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74149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5979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41810532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2483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64029" y="654801"/>
            <a:ext cx="7553536" cy="1292662"/>
          </a:xfrm>
          <a:prstGeom prst="rect">
            <a:avLst/>
          </a:prstGeom>
        </p:spPr>
        <p:txBody>
          <a:bodyPr lIns="91420" tIns="45709" rIns="91420" bIns="45709"/>
          <a:lstStyle>
            <a:lvl1pPr>
              <a:lnSpc>
                <a:spcPts val="3399"/>
              </a:lnSpc>
              <a:defRPr sz="4400" i="0">
                <a:solidFill>
                  <a:srgbClr val="A02BFF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/>
              <a:t>ANÁLISE DE RESULTADOS </a:t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FEVEREIRO 2016</a:t>
            </a:r>
            <a:endParaRPr lang="pt-BR" sz="420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53534" y="2480698"/>
            <a:ext cx="6720127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4D4D4D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>
                <a:latin typeface="Simplon BP Regular" pitchFamily="2" charset="0"/>
              </a:rPr>
              <a:t>Apresentação ao Conselho de Administração</a:t>
            </a:r>
          </a:p>
          <a:p>
            <a:endParaRPr lang="pt-BR" dirty="0" smtClean="0">
              <a:latin typeface="Simplon BP Regular" pitchFamily="2" charset="0"/>
            </a:endParaRPr>
          </a:p>
          <a:p>
            <a:r>
              <a:rPr lang="pt-BR" sz="1600" dirty="0" smtClean="0">
                <a:latin typeface="Simplon BP Regular" pitchFamily="2" charset="0"/>
              </a:rPr>
              <a:t>Rio de Janeiro, 29 de Março 2016</a:t>
            </a:r>
            <a:endParaRPr lang="pt-BR" dirty="0">
              <a:latin typeface="Simplon BP Regular" pitchFamily="2" charset="0"/>
            </a:endParaRPr>
          </a:p>
        </p:txBody>
      </p:sp>
      <p:pic>
        <p:nvPicPr>
          <p:cNvPr id="6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7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0792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 bwMode="auto">
          <a:xfrm>
            <a:off x="8828748" y="4932660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09" rIns="91420" bIns="45709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11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11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CaixaDeTexto 16"/>
          <p:cNvSpPr txBox="1"/>
          <p:nvPr userDrawn="1"/>
        </p:nvSpPr>
        <p:spPr>
          <a:xfrm>
            <a:off x="272955" y="322263"/>
            <a:ext cx="253848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pt-BR" sz="2000" i="1" dirty="0" smtClean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 hasCustomPrompt="1"/>
            <p:custDataLst>
              <p:tags r:id="rId1"/>
            </p:custDataLst>
          </p:nvPr>
        </p:nvSpPr>
        <p:spPr bwMode="auto">
          <a:xfrm>
            <a:off x="177696" y="26300"/>
            <a:ext cx="8267700" cy="28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07" tIns="38953" rIns="77907" bIns="38953" numCol="1" anchor="ctr" anchorCtr="0" compatLnSpc="1">
            <a:prstTxWarp prst="textNoShape">
              <a:avLst/>
            </a:prstTxWarp>
          </a:bodyPr>
          <a:lstStyle>
            <a:lvl1pPr algn="l" defTabSz="793531" rtl="0" fontAlgn="base">
              <a:spcBef>
                <a:spcPct val="0"/>
              </a:spcBef>
              <a:spcAft>
                <a:spcPct val="0"/>
              </a:spcAft>
              <a:defRPr lang="pt-BR" sz="1300" b="1" i="0" kern="120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9" name="Espaço Reservado para Texto 9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77696" y="292920"/>
            <a:ext cx="8212962" cy="230832"/>
          </a:xfrm>
          <a:prstGeom prst="rect">
            <a:avLst/>
          </a:prstGeom>
        </p:spPr>
        <p:txBody>
          <a:bodyPr lIns="91420" tIns="45709" rIns="91420" bIns="45709"/>
          <a:lstStyle>
            <a:lvl1pPr marL="0" indent="0">
              <a:buNone/>
              <a:defRPr lang="pt-BR" sz="1500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352" indent="0">
              <a:buNone/>
              <a:defRPr/>
            </a:lvl2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pic>
        <p:nvPicPr>
          <p:cNvPr id="21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594" y="4123"/>
            <a:ext cx="696769" cy="49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7322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2839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4558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796167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6837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0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6019678" y="4879182"/>
            <a:ext cx="24479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>
                    <a:tint val="75000"/>
                  </a:schemeClr>
                </a:solidFill>
                <a:latin typeface="Simplon BP Regular" pitchFamily="2" charset="0"/>
                <a:cs typeface="Arial"/>
              </a:defRPr>
            </a:lvl1pPr>
          </a:lstStyle>
          <a:p>
            <a:pPr>
              <a:defRPr/>
            </a:pPr>
            <a:r>
              <a:rPr lang="pt-BR" dirty="0">
                <a:solidFill>
                  <a:prstClr val="black">
                    <a:tint val="75000"/>
                  </a:prstClr>
                </a:solidFill>
              </a:rPr>
              <a:t>MATERIAL CONFIDENCIAL  |  SLIDE Nº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504113" y="4876006"/>
            <a:ext cx="460375" cy="274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Simplon BP Regular" pitchFamily="2" charset="0"/>
              </a:defRPr>
            </a:lvl1pPr>
          </a:lstStyle>
          <a:p>
            <a:pPr>
              <a:defRPr/>
            </a:pPr>
            <a:fld id="{A7771DBD-8228-4A2B-96FC-7283B7EBB7ED}" type="slidenum">
              <a:rPr lang="en-US" altLang="pt-BR" smtClean="0"/>
              <a:pPr>
                <a:defRPr/>
              </a:pPr>
              <a:t>‹nº›</a:t>
            </a:fld>
            <a:endParaRPr lang="en-US" alt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42875" y="34925"/>
            <a:ext cx="8821613" cy="857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200" i="0">
                <a:solidFill>
                  <a:srgbClr val="00CEFF"/>
                </a:solidFill>
                <a:latin typeface="Simplon Oi Headline" pitchFamily="2" charset="0"/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7331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vmlDrawing" Target="../drawings/vmlDrawing7.v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theme" Target="../theme/theme11.x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oleObject" Target="../embeddings/oleObject7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3" Type="http://schemas.openxmlformats.org/officeDocument/2006/relationships/slideLayout" Target="../slideLayouts/slideLayout91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93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92.xml"/><Relationship Id="rId9" Type="http://schemas.openxmlformats.org/officeDocument/2006/relationships/tags" Target="../tags/tag1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heme" Target="../theme/theme14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14.e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26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25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59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image" Target="../media/image1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 Simplon Oi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usar apenas 2 cores dos esquemas 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870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5" r:id="rId4"/>
    <p:sldLayoutId id="2147484066" r:id="rId5"/>
    <p:sldLayoutId id="2147484068" r:id="rId6"/>
    <p:sldLayoutId id="2147484069" r:id="rId7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26454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291" name="Slide do think-cell" r:id="rId14" imgW="270" imgH="270" progId="TCLayout.ActiveDocument.1">
                  <p:embed/>
                </p:oleObj>
              </mc:Choice>
              <mc:Fallback>
                <p:oleObj name="Slide do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usar apenas 2 cores dos esquemas abaixo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33" name="TextBox 12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3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3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16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28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5" name="TextBox 39"/>
          <p:cNvSpPr txBox="1"/>
          <p:nvPr userDrawn="1"/>
        </p:nvSpPr>
        <p:spPr>
          <a:xfrm>
            <a:off x="9143999" y="4299942"/>
            <a:ext cx="46203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965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9143999" y="4299942"/>
            <a:ext cx="46203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737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085" r:id="rId3"/>
    <p:sldLayoutId id="2147484086" r:id="rId4"/>
    <p:sldLayoutId id="2147484087" r:id="rId5"/>
    <p:sldLayoutId id="2147484088" r:id="rId6"/>
    <p:sldLayoutId id="2147484089" r:id="rId7"/>
    <p:sldLayoutId id="2147484090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29232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35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504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8" r:id="rId4"/>
    <p:sldLayoutId id="2147484099" r:id="rId5"/>
    <p:sldLayoutId id="2147484100" r:id="rId6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30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2" r:id="rId1"/>
    <p:sldLayoutId id="2147484103" r:id="rId2"/>
    <p:sldLayoutId id="2147484104" r:id="rId3"/>
    <p:sldLayoutId id="2147484105" r:id="rId4"/>
    <p:sldLayoutId id="2147484106" r:id="rId5"/>
    <p:sldLayoutId id="2147484108" r:id="rId6"/>
    <p:sldLayoutId id="2147484109" r:id="rId7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588320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8" name="Slide do think-cell" r:id="rId14" imgW="270" imgH="270" progId="TCLayout.ActiveDocument.1">
                  <p:embed/>
                </p:oleObj>
              </mc:Choice>
              <mc:Fallback>
                <p:oleObj name="Slide do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usar apenas 2 cores dos esquemas abaixo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33" name="TextBox 12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Oi 42pt</a:t>
            </a:r>
          </a:p>
        </p:txBody>
      </p:sp>
      <p:sp>
        <p:nvSpPr>
          <p:cNvPr id="3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3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Freeform 16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0" name="Freeform 28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5" name="TextBox 39"/>
          <p:cNvSpPr txBox="1"/>
          <p:nvPr userDrawn="1"/>
        </p:nvSpPr>
        <p:spPr>
          <a:xfrm>
            <a:off x="9143999" y="4299942"/>
            <a:ext cx="46203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 de cores (usar apenas 2 cores dos esquemas abaixo)</a:t>
            </a: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1368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3" r:id="rId2"/>
    <p:sldLayoutId id="2147483984" r:id="rId3"/>
    <p:sldLayoutId id="2147483985" r:id="rId4"/>
    <p:sldLayoutId id="2147483986" r:id="rId5"/>
    <p:sldLayoutId id="2147483987" r:id="rId6"/>
    <p:sldLayoutId id="2147483988" r:id="rId7"/>
    <p:sldLayoutId id="2147483989" r:id="rId8"/>
    <p:sldLayoutId id="2147483990" r:id="rId9"/>
    <p:sldLayoutId id="2147483991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5" y="274638"/>
            <a:ext cx="5615854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9" y="56344"/>
            <a:ext cx="179147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1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1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1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9" y="1419623"/>
            <a:ext cx="179147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1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9" y="3219823"/>
            <a:ext cx="179147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1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4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4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4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4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4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4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6"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457206"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457206"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4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261274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9378545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9261274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378545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261274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378545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9143998" y="4299943"/>
            <a:ext cx="462034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pt-BR" sz="180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769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  <p:sldLayoutId id="2147483999" r:id="rId5"/>
    <p:sldLayoutId id="2147484000" r:id="rId6"/>
    <p:sldLayoutId id="2147484001" r:id="rId7"/>
    <p:sldLayoutId id="2147484002" r:id="rId8"/>
  </p:sldLayoutIdLst>
  <p:hf hdr="0" dt="0"/>
  <p:txStyles>
    <p:titleStyle>
      <a:lvl1pPr algn="l" defTabSz="457206" rtl="0" eaLnBrk="1" latinLnBrk="0" hangingPunct="1">
        <a:lnSpc>
          <a:spcPts val="4201"/>
        </a:lnSpc>
        <a:spcBef>
          <a:spcPct val="0"/>
        </a:spcBef>
        <a:spcAft>
          <a:spcPts val="0"/>
        </a:spcAft>
        <a:buNone/>
        <a:defRPr lang="en-US" sz="4201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2" indent="-184152" algn="l" defTabSz="45720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1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30" indent="-176216" algn="l" defTabSz="45720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30" algn="l"/>
        </a:tabLst>
        <a:defRPr lang="es-ES_tradnl" sz="1401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45" indent="-176216" algn="l" defTabSz="45720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45" algn="l"/>
        </a:tabLst>
        <a:defRPr lang="es-ES_tradnl" sz="1401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9" indent="-176216" algn="l" defTabSz="45720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9" algn="l"/>
        </a:tabLst>
        <a:defRPr lang="es-ES_tradnl" sz="1401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75" indent="-176216" algn="l" defTabSz="45720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75" algn="l"/>
        </a:tabLst>
        <a:defRPr lang="pt-BR" sz="1401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32" indent="-228604" algn="l" defTabSz="45720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4" algn="l" defTabSz="45720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4" indent="-228604" algn="l" defTabSz="45720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4" algn="l" defTabSz="45720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45720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orient="horz" pos="894" userDrawn="1">
          <p15:clr>
            <a:srgbClr val="F26B43"/>
          </p15:clr>
        </p15:guide>
        <p15:guide id="3" orient="horz" pos="169" userDrawn="1">
          <p15:clr>
            <a:srgbClr val="F26B43"/>
          </p15:clr>
        </p15:guide>
        <p15:guide id="4" pos="295" userDrawn="1">
          <p15:clr>
            <a:srgbClr val="F26B43"/>
          </p15:clr>
        </p15:guide>
        <p15:guide id="5" pos="5465" userDrawn="1">
          <p15:clr>
            <a:srgbClr val="F26B43"/>
          </p15:clr>
        </p15:guide>
        <p15:guide id="6" orient="horz" pos="3072" userDrawn="1">
          <p15:clr>
            <a:srgbClr val="F26B43"/>
          </p15:clr>
        </p15:guide>
        <p15:guide id="7" orient="horz" pos="66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00301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161" name="Slide do think-cell" r:id="rId12" imgW="270" imgH="270" progId="TCLayout.ActiveDocument.1">
                  <p:embed/>
                </p:oleObj>
              </mc:Choice>
              <mc:Fallback>
                <p:oleObj name="Slide do think-cell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9143999" y="4299942"/>
            <a:ext cx="46203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595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0" r:id="rId5"/>
    <p:sldLayoutId id="2147484011" r:id="rId6"/>
    <p:sldLayoutId id="2147484012" r:id="rId7"/>
    <p:sldLayoutId id="2147484013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9143999" y="4299942"/>
            <a:ext cx="46203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431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17" r:id="rId3"/>
    <p:sldLayoutId id="2147484018" r:id="rId4"/>
    <p:sldLayoutId id="2147484019" r:id="rId5"/>
    <p:sldLayoutId id="2147484020" r:id="rId6"/>
    <p:sldLayoutId id="2147484021" r:id="rId7"/>
    <p:sldLayoutId id="2147484022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314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8" r:id="rId4"/>
    <p:sldLayoutId id="2147484029" r:id="rId5"/>
    <p:sldLayoutId id="2147484030" r:id="rId6"/>
    <p:sldLayoutId id="2147484031" r:id="rId7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869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69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449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7" r:id="rId5"/>
    <p:sldLayoutId id="2147484048" r:id="rId6"/>
    <p:sldLayoutId id="2147484049" r:id="rId7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666691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90" name="Slide do think-cell" r:id="rId13" imgW="270" imgH="270" progId="TCLayout.ActiveDocument.1">
                  <p:embed/>
                </p:oleObj>
              </mc:Choice>
              <mc:Fallback>
                <p:oleObj name="Slide do think-cell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7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4" name="TextBox 39"/>
          <p:cNvSpPr txBox="1"/>
          <p:nvPr userDrawn="1"/>
        </p:nvSpPr>
        <p:spPr>
          <a:xfrm>
            <a:off x="9143999" y="4299942"/>
            <a:ext cx="46203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905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54" r:id="rId2"/>
    <p:sldLayoutId id="2147484055" r:id="rId3"/>
    <p:sldLayoutId id="2147484056" r:id="rId4"/>
    <p:sldLayoutId id="2147484057" r:id="rId5"/>
    <p:sldLayoutId id="2147484058" r:id="rId6"/>
    <p:sldLayoutId id="2147484059" r:id="rId7"/>
    <p:sldLayoutId id="2147484060" r:id="rId8"/>
    <p:sldLayoutId id="2147484110" r:id="rId9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1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OMITÊ DE GESTÃO</a:t>
            </a:r>
            <a:br>
              <a:rPr lang="pt-BR" dirty="0"/>
            </a:br>
            <a:endParaRPr lang="en-US" dirty="0"/>
          </a:p>
        </p:txBody>
      </p:sp>
      <p:sp>
        <p:nvSpPr>
          <p:cNvPr id="3" name="Text Placeholder 3"/>
          <p:cNvSpPr txBox="1">
            <a:spLocks/>
          </p:cNvSpPr>
          <p:nvPr/>
        </p:nvSpPr>
        <p:spPr>
          <a:xfrm>
            <a:off x="467544" y="1835464"/>
            <a:ext cx="4793712" cy="736286"/>
          </a:xfrm>
          <a:prstGeom prst="rect">
            <a:avLst/>
          </a:prstGeom>
        </p:spPr>
        <p:txBody>
          <a:bodyPr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charset="2"/>
              <a:buNone/>
              <a:defRPr/>
            </a:pPr>
            <a:r>
              <a:rPr lang="pt-BR" sz="2800" dirty="0" smtClean="0">
                <a:solidFill>
                  <a:srgbClr val="FFFFFF"/>
                </a:solidFill>
              </a:rPr>
              <a:t>TECNOLOGIA</a:t>
            </a:r>
            <a:endParaRPr lang="pt-BR" sz="2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3538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29987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72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oter Placeholder 2"/>
          <p:cNvSpPr txBox="1">
            <a:spLocks/>
          </p:cNvSpPr>
          <p:nvPr/>
        </p:nvSpPr>
        <p:spPr>
          <a:xfrm>
            <a:off x="6196521" y="4893205"/>
            <a:ext cx="2277290" cy="273050"/>
          </a:xfrm>
          <a:prstGeom prst="rect">
            <a:avLst/>
          </a:prstGeom>
        </p:spPr>
        <p:txBody>
          <a:bodyPr anchor="ctr" anchorCtr="0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MATERIAL CONFIDENCIAL  |  SLIDE Nº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4"/>
          </p:nvPr>
        </p:nvSpPr>
        <p:spPr>
          <a:xfrm>
            <a:off x="8270642" y="4892411"/>
            <a:ext cx="460375" cy="274638"/>
          </a:xfrm>
        </p:spPr>
        <p:txBody>
          <a:bodyPr anchor="ctr" anchorCtr="0"/>
          <a:lstStyle/>
          <a:p>
            <a:pPr algn="ctr"/>
            <a:fld id="{A7771DBD-8228-4A2B-96FC-7283B7EBB7ED}" type="slidenum">
              <a:rPr lang="en-US" altLang="pt-BR" sz="1000">
                <a:solidFill>
                  <a:srgbClr val="4D4D4D"/>
                </a:solidFill>
                <a:latin typeface="Simplon BP Regular"/>
                <a:ea typeface="ＭＳ Ｐゴシック" charset="0"/>
                <a:cs typeface="Simplon BP Regular"/>
              </a:rPr>
              <a:pPr algn="ctr"/>
              <a:t>2</a:t>
            </a:fld>
            <a:endParaRPr lang="en-US" altLang="pt-BR" sz="1000" dirty="0">
              <a:solidFill>
                <a:srgbClr val="4D4D4D"/>
              </a:solidFill>
              <a:latin typeface="Simplon BP Regular"/>
              <a:ea typeface="ＭＳ Ｐゴシック" charset="0"/>
              <a:cs typeface="Simplon BP Regular"/>
            </a:endParaRPr>
          </a:p>
        </p:txBody>
      </p:sp>
      <p:sp>
        <p:nvSpPr>
          <p:cNvPr id="61" name="Title 22"/>
          <p:cNvSpPr txBox="1">
            <a:spLocks/>
          </p:cNvSpPr>
          <p:nvPr/>
        </p:nvSpPr>
        <p:spPr>
          <a:xfrm>
            <a:off x="186484" y="123021"/>
            <a:ext cx="7221536" cy="2807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400" i="0" dirty="0">
              <a:solidFill>
                <a:srgbClr val="FF6D00"/>
              </a:solidFill>
              <a:latin typeface="Simplon Oi Headline" pitchFamily="2" charset="0"/>
              <a:cs typeface="Simplon BP Bold"/>
            </a:endParaRPr>
          </a:p>
        </p:txBody>
      </p:sp>
      <p:cxnSp>
        <p:nvCxnSpPr>
          <p:cNvPr id="62" name="Conector reto 61"/>
          <p:cNvCxnSpPr/>
          <p:nvPr/>
        </p:nvCxnSpPr>
        <p:spPr>
          <a:xfrm>
            <a:off x="240159" y="403759"/>
            <a:ext cx="8748000" cy="0"/>
          </a:xfrm>
          <a:prstGeom prst="line">
            <a:avLst/>
          </a:prstGeom>
          <a:ln w="19050" cmpd="dbl"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11"/>
          <p:cNvSpPr txBox="1"/>
          <p:nvPr/>
        </p:nvSpPr>
        <p:spPr>
          <a:xfrm>
            <a:off x="78028" y="497212"/>
            <a:ext cx="4320000" cy="4435440"/>
          </a:xfrm>
          <a:prstGeom prst="roundRect">
            <a:avLst>
              <a:gd name="adj" fmla="val 1675"/>
            </a:avLst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algn="just" fontAlgn="t"/>
            <a:r>
              <a:rPr lang="pt-BR" sz="1050" b="1" dirty="0" smtClean="0">
                <a:solidFill>
                  <a:srgbClr val="000000"/>
                </a:solidFill>
                <a:latin typeface="Simplon BP Regular" pitchFamily="2" charset="0"/>
              </a:rPr>
              <a:t>Objetivo </a:t>
            </a:r>
            <a:r>
              <a:rPr lang="pt-BR" sz="1050" b="1" dirty="0" smtClean="0">
                <a:solidFill>
                  <a:srgbClr val="000000"/>
                </a:solidFill>
                <a:latin typeface="Simplon BP Regular" pitchFamily="2" charset="0"/>
              </a:rPr>
              <a:t>/ Defesa </a:t>
            </a:r>
            <a:r>
              <a:rPr lang="pt-BR" sz="1050" b="1" dirty="0" smtClean="0">
                <a:solidFill>
                  <a:srgbClr val="000000"/>
                </a:solidFill>
                <a:latin typeface="Simplon BP Regular" pitchFamily="2" charset="0"/>
              </a:rPr>
              <a:t>:</a:t>
            </a:r>
            <a:endParaRPr lang="pt-BR" sz="1050" dirty="0" smtClean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r>
              <a:rPr lang="pt-BR" sz="1050" dirty="0">
                <a:solidFill>
                  <a:srgbClr val="000000"/>
                </a:solidFill>
                <a:latin typeface="Simplon BP Regular" pitchFamily="2" charset="0"/>
              </a:rPr>
              <a:t>Este projeto tem como objetivo automatizar configurações de faturamento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 que estão no escopo da Fase 2 do GTA (SVA). </a:t>
            </a:r>
            <a:endParaRPr lang="pt-BR" sz="1050" dirty="0" smtClean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endParaRPr lang="pt-BR" sz="1050" dirty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r>
              <a:rPr lang="pt-BR" sz="1050" b="1" dirty="0">
                <a:solidFill>
                  <a:srgbClr val="000000"/>
                </a:solidFill>
                <a:latin typeface="Simplon BP Regular" pitchFamily="2" charset="0"/>
              </a:rPr>
              <a:t>Ganhos </a:t>
            </a:r>
            <a:r>
              <a:rPr lang="pt-BR" sz="1050" b="1" dirty="0" smtClean="0">
                <a:solidFill>
                  <a:srgbClr val="000000"/>
                </a:solidFill>
                <a:latin typeface="Simplon BP Regular" pitchFamily="2" charset="0"/>
              </a:rPr>
              <a:t>esperados / Benefícios esperados: </a:t>
            </a:r>
            <a:endParaRPr lang="pt-BR" sz="1050" b="1" dirty="0">
              <a:solidFill>
                <a:srgbClr val="000000"/>
              </a:solidFill>
              <a:latin typeface="Simplon BP Regular" pitchFamily="2" charset="0"/>
            </a:endParaRPr>
          </a:p>
          <a:p>
            <a:pPr marL="174625" indent="-174625" fontAlgn="t">
              <a:buFont typeface="Wingdings" panose="05000000000000000000" pitchFamily="2" charset="2"/>
              <a:buChar char="§"/>
            </a:pP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Redução dos problemas de erro em cobrança de valores nas faturas de clientes, ou perda de receita, relacionadas a configuração de tarifas de usos de provedores (SVA).</a:t>
            </a:r>
          </a:p>
          <a:p>
            <a:pPr marL="174625" indent="-174625" fontAlgn="t">
              <a:buFont typeface="Wingdings" panose="05000000000000000000" pitchFamily="2" charset="2"/>
              <a:buChar char="§"/>
            </a:pP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Redução de perdas de receita na ordem de R$ 12 MM/ano.</a:t>
            </a:r>
          </a:p>
          <a:p>
            <a:pPr marL="174625" indent="-174625" fontAlgn="t">
              <a:buFont typeface="Wingdings" panose="05000000000000000000" pitchFamily="2" charset="2"/>
              <a:buChar char="§"/>
            </a:pP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Redução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de custos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de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desenvolvimento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de 7.2 MM/ano.</a:t>
            </a:r>
            <a:endParaRPr lang="pt-BR" sz="1050" dirty="0">
              <a:solidFill>
                <a:srgbClr val="000000"/>
              </a:solidFill>
              <a:latin typeface="Simplon BP Regular" pitchFamily="2" charset="0"/>
            </a:endParaRPr>
          </a:p>
          <a:p>
            <a:pPr marL="174625" indent="-174625" fontAlgn="t">
              <a:buFont typeface="Wingdings" panose="05000000000000000000" pitchFamily="2" charset="2"/>
              <a:buChar char="§"/>
            </a:pP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Melhoria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do </a:t>
            </a:r>
            <a:r>
              <a:rPr lang="pt-BR" sz="1050" i="1" dirty="0" smtClean="0">
                <a:solidFill>
                  <a:srgbClr val="000000"/>
                </a:solidFill>
                <a:latin typeface="Simplon BP Regular" pitchFamily="2" charset="0"/>
              </a:rPr>
              <a:t>“Time </a:t>
            </a:r>
            <a:r>
              <a:rPr lang="pt-BR" sz="1050" i="1" dirty="0" err="1" smtClean="0">
                <a:solidFill>
                  <a:srgbClr val="000000"/>
                </a:solidFill>
                <a:latin typeface="Simplon BP Regular" pitchFamily="2" charset="0"/>
              </a:rPr>
              <a:t>to</a:t>
            </a:r>
            <a:r>
              <a:rPr lang="pt-BR" sz="1050" i="1" dirty="0" smtClean="0">
                <a:solidFill>
                  <a:srgbClr val="000000"/>
                </a:solidFill>
                <a:latin typeface="Simplon BP Regular" pitchFamily="2" charset="0"/>
              </a:rPr>
              <a:t> Market”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das novas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configurações (em média) de 6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meses para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2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dias.</a:t>
            </a:r>
            <a:endParaRPr lang="pt-BR" sz="1050" dirty="0">
              <a:solidFill>
                <a:srgbClr val="000000"/>
              </a:solidFill>
              <a:latin typeface="Simplon BP Regular" pitchFamily="2" charset="0"/>
            </a:endParaRPr>
          </a:p>
          <a:p>
            <a:pPr marL="174625" indent="-174625" fontAlgn="t">
              <a:buFont typeface="Wingdings" panose="05000000000000000000" pitchFamily="2" charset="2"/>
              <a:buChar char="§"/>
            </a:pP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Adequação aos padrões da SOX, com perfil de acesso e controle para as novas  funcionalidades.</a:t>
            </a:r>
            <a:endParaRPr lang="pt-BR" sz="1050" dirty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endParaRPr lang="pt-BR" sz="1050" b="1" dirty="0" smtClean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r>
              <a:rPr lang="pt-BR" sz="1050" b="1" dirty="0" smtClean="0">
                <a:solidFill>
                  <a:srgbClr val="000000"/>
                </a:solidFill>
                <a:latin typeface="Simplon BP Regular" pitchFamily="2" charset="0"/>
              </a:rPr>
              <a:t>Histórico de Aprovação x Entregáveis</a:t>
            </a:r>
          </a:p>
          <a:p>
            <a:pPr fontAlgn="t"/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N/A</a:t>
            </a:r>
            <a:endParaRPr lang="pt-BR" sz="1050" dirty="0" smtClean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endParaRPr lang="pt-BR" sz="1050" b="1" dirty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r>
              <a:rPr lang="pt-BR" sz="1050" b="1" dirty="0">
                <a:solidFill>
                  <a:srgbClr val="000000"/>
                </a:solidFill>
                <a:latin typeface="Simplon BP Regular" pitchFamily="2" charset="0"/>
              </a:rPr>
              <a:t>Em Aprovação 5</a:t>
            </a:r>
            <a:r>
              <a:rPr lang="pt-BR" sz="1050" b="1" dirty="0" smtClean="0">
                <a:latin typeface="Simplon BP Regular" pitchFamily="2" charset="0"/>
              </a:rPr>
              <a:t>MM</a:t>
            </a:r>
            <a:r>
              <a:rPr lang="pt-BR" sz="1050" dirty="0">
                <a:solidFill>
                  <a:srgbClr val="000000"/>
                </a:solidFill>
                <a:latin typeface="Simplon BP Regular" pitchFamily="2" charset="0"/>
              </a:rPr>
              <a:t>, para contratação/aquisição de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: </a:t>
            </a:r>
          </a:p>
          <a:p>
            <a:pPr marL="171450" indent="-171450" fontAlgn="t">
              <a:buFont typeface="Wingdings" panose="05000000000000000000" pitchFamily="2" charset="2"/>
              <a:buChar char="§"/>
            </a:pP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Criação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de funcionalidades para automatização de configurações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de Serviços de Valor Agregado (SVA) no Faturamento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Móvel Convergente. </a:t>
            </a:r>
            <a:endParaRPr lang="pt-BR" sz="1050" dirty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endParaRPr lang="pt-BR" sz="1050" b="1" dirty="0" smtClean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r>
              <a:rPr lang="pt-BR" sz="1050" b="1" dirty="0" smtClean="0">
                <a:solidFill>
                  <a:srgbClr val="000000"/>
                </a:solidFill>
                <a:latin typeface="Simplon BP Regular" pitchFamily="2" charset="0"/>
              </a:rPr>
              <a:t>Risco </a:t>
            </a:r>
            <a:r>
              <a:rPr lang="pt-BR" sz="1050" b="1" dirty="0">
                <a:solidFill>
                  <a:srgbClr val="000000"/>
                </a:solidFill>
                <a:latin typeface="Simplon BP Regular" pitchFamily="2" charset="0"/>
              </a:rPr>
              <a:t>de Não Fazer:</a:t>
            </a:r>
          </a:p>
          <a:p>
            <a:pPr marL="171450" indent="-171450" fontAlgn="t">
              <a:buFont typeface="Wingdings" panose="05000000000000000000" pitchFamily="2" charset="2"/>
              <a:buChar char="§"/>
            </a:pP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Manutenção das perdas de receita na ordem de R$ 12 MM/ano </a:t>
            </a:r>
            <a:r>
              <a:rPr lang="pt-BR" sz="1050" smtClean="0">
                <a:solidFill>
                  <a:srgbClr val="000000"/>
                </a:solidFill>
                <a:latin typeface="Simplon BP Regular" pitchFamily="2" charset="0"/>
              </a:rPr>
              <a:t>e dos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gastos com configurações na ordem de R$ 7,2 MM/ano.</a:t>
            </a:r>
            <a:endParaRPr lang="pt-BR" sz="1050" dirty="0">
              <a:solidFill>
                <a:srgbClr val="000000"/>
              </a:solidFill>
              <a:latin typeface="Simplon BP Regular" pitchFamily="2" charset="0"/>
            </a:endParaRPr>
          </a:p>
          <a:p>
            <a:pPr algn="just" fontAlgn="t"/>
            <a:endParaRPr lang="pt-BR" sz="1050" b="1" dirty="0" smtClean="0">
              <a:solidFill>
                <a:srgbClr val="000000"/>
              </a:solidFill>
              <a:latin typeface="Simplon BP Regular" pitchFamily="2" charset="0"/>
            </a:endParaRPr>
          </a:p>
          <a:p>
            <a:pPr algn="just" fontAlgn="t"/>
            <a:r>
              <a:rPr lang="pt-BR" sz="1050" b="1" dirty="0" smtClean="0">
                <a:solidFill>
                  <a:srgbClr val="000000"/>
                </a:solidFill>
                <a:latin typeface="Simplon BP Regular" pitchFamily="2" charset="0"/>
              </a:rPr>
              <a:t>Prazo </a:t>
            </a:r>
            <a:r>
              <a:rPr lang="pt-BR" sz="1050" b="1" dirty="0">
                <a:solidFill>
                  <a:srgbClr val="000000"/>
                </a:solidFill>
                <a:latin typeface="Simplon BP Regular" pitchFamily="2" charset="0"/>
              </a:rPr>
              <a:t>de execução:  </a:t>
            </a:r>
            <a:r>
              <a:rPr lang="pt-BR" sz="1050" b="1" dirty="0" smtClean="0">
                <a:solidFill>
                  <a:srgbClr val="000000"/>
                </a:solidFill>
                <a:latin typeface="Simplon BP Regular" pitchFamily="2" charset="0"/>
              </a:rPr>
              <a:t>12 </a:t>
            </a:r>
            <a:r>
              <a:rPr lang="pt-BR" sz="1050" dirty="0" smtClean="0">
                <a:solidFill>
                  <a:srgbClr val="000000"/>
                </a:solidFill>
                <a:latin typeface="Simplon BP Regular" pitchFamily="2" charset="0"/>
              </a:rPr>
              <a:t>meses</a:t>
            </a:r>
            <a:endParaRPr lang="pt-BR" sz="1050" dirty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endParaRPr lang="pt-BR" sz="1000" dirty="0">
              <a:solidFill>
                <a:srgbClr val="000000"/>
              </a:solidFill>
              <a:latin typeface="Simplon BP Regular" pitchFamily="2" charset="0"/>
            </a:endParaRPr>
          </a:p>
          <a:p>
            <a:pPr fontAlgn="t"/>
            <a:endParaRPr lang="pt-BR" sz="100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68" name="Title 22"/>
          <p:cNvSpPr txBox="1">
            <a:spLocks/>
          </p:cNvSpPr>
          <p:nvPr/>
        </p:nvSpPr>
        <p:spPr>
          <a:xfrm>
            <a:off x="384921" y="430567"/>
            <a:ext cx="72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pt-BR" sz="1200" b="1" i="0" dirty="0">
                <a:solidFill>
                  <a:srgbClr val="FF6D00"/>
                </a:solidFill>
                <a:latin typeface="Simplon BP Bold"/>
                <a:cs typeface="Simplon BP Bold"/>
              </a:rPr>
              <a:t>PROJETO</a:t>
            </a:r>
            <a:endParaRPr lang="en-US" sz="1200" b="1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69" name="Retângulo 68"/>
          <p:cNvSpPr/>
          <p:nvPr/>
        </p:nvSpPr>
        <p:spPr>
          <a:xfrm>
            <a:off x="107505" y="694431"/>
            <a:ext cx="4379080" cy="720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endParaRPr lang="pt-BR" sz="120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70" name="Retângulo 69"/>
          <p:cNvSpPr/>
          <p:nvPr/>
        </p:nvSpPr>
        <p:spPr>
          <a:xfrm>
            <a:off x="107505" y="1477703"/>
            <a:ext cx="4379080" cy="720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endParaRPr lang="pt-BR" sz="1200" dirty="0">
              <a:solidFill>
                <a:srgbClr val="000000"/>
              </a:solidFill>
              <a:latin typeface="Simplon BP Regular"/>
              <a:cs typeface="Simplon BP Regular"/>
            </a:endParaRPr>
          </a:p>
        </p:txBody>
      </p:sp>
      <p:sp>
        <p:nvSpPr>
          <p:cNvPr id="71" name="Retângulo 70"/>
          <p:cNvSpPr/>
          <p:nvPr/>
        </p:nvSpPr>
        <p:spPr>
          <a:xfrm>
            <a:off x="99350" y="2331729"/>
            <a:ext cx="4379080" cy="720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endParaRPr lang="pt-BR" sz="1200" dirty="0">
              <a:solidFill>
                <a:srgbClr val="000000"/>
              </a:solidFill>
              <a:latin typeface="Simplon BP Regular"/>
              <a:cs typeface="Simplon BP Regular"/>
            </a:endParaRPr>
          </a:p>
        </p:txBody>
      </p:sp>
      <p:sp>
        <p:nvSpPr>
          <p:cNvPr id="72" name="Retângulo 71"/>
          <p:cNvSpPr/>
          <p:nvPr/>
        </p:nvSpPr>
        <p:spPr>
          <a:xfrm>
            <a:off x="107505" y="3044246"/>
            <a:ext cx="4379080" cy="720000"/>
          </a:xfrm>
          <a:prstGeom prst="rect">
            <a:avLst/>
          </a:prstGeom>
        </p:spPr>
        <p:txBody>
          <a:bodyPr wrap="square" lIns="72000">
            <a:noAutofit/>
          </a:bodyPr>
          <a:lstStyle/>
          <a:p>
            <a:endParaRPr lang="pt-BR" sz="120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79" name="Title 22"/>
          <p:cNvSpPr txBox="1">
            <a:spLocks/>
          </p:cNvSpPr>
          <p:nvPr/>
        </p:nvSpPr>
        <p:spPr>
          <a:xfrm>
            <a:off x="186484" y="123021"/>
            <a:ext cx="7183259" cy="2807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2000" b="1" i="0" dirty="0" smtClean="0">
                <a:solidFill>
                  <a:srgbClr val="FF6D00"/>
                </a:solidFill>
                <a:latin typeface="Simplon Oi Headline" pitchFamily="2" charset="0"/>
                <a:cs typeface="Simplon BP Bold"/>
              </a:rPr>
              <a:t>GTA FASE 2 - Configurações de faturamento</a:t>
            </a:r>
            <a:endParaRPr lang="en-US" sz="2000" b="1" i="0" dirty="0">
              <a:solidFill>
                <a:srgbClr val="FF6D00"/>
              </a:solidFill>
              <a:latin typeface="Simplon Oi Headline" pitchFamily="2" charset="0"/>
              <a:cs typeface="Simplon BP Bold"/>
            </a:endParaRPr>
          </a:p>
        </p:txBody>
      </p:sp>
      <p:pic>
        <p:nvPicPr>
          <p:cNvPr id="91" name="Imagem 90"/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501908" y="123653"/>
            <a:ext cx="186704" cy="178218"/>
          </a:xfrm>
          <a:prstGeom prst="rect">
            <a:avLst/>
          </a:prstGeom>
        </p:spPr>
      </p:pic>
      <p:pic>
        <p:nvPicPr>
          <p:cNvPr id="92" name="Imagem 91"/>
          <p:cNvPicPr>
            <a:picLocks noChangeAspect="1"/>
          </p:cNvPicPr>
          <p:nvPr/>
        </p:nvPicPr>
        <p:blipFill>
          <a:blip r:embed="rId8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065022" y="142120"/>
            <a:ext cx="228600" cy="180975"/>
          </a:xfrm>
          <a:prstGeom prst="rect">
            <a:avLst/>
          </a:prstGeom>
        </p:spPr>
      </p:pic>
      <p:sp>
        <p:nvSpPr>
          <p:cNvPr id="94" name="CaixaDeTexto 93"/>
          <p:cNvSpPr txBox="1"/>
          <p:nvPr/>
        </p:nvSpPr>
        <p:spPr>
          <a:xfrm>
            <a:off x="8235369" y="130006"/>
            <a:ext cx="288000" cy="19775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r>
              <a:rPr lang="pt-BR" sz="900" dirty="0">
                <a:solidFill>
                  <a:srgbClr val="000000"/>
                </a:solidFill>
                <a:latin typeface="Simplon BP Regular" pitchFamily="2" charset="0"/>
                <a:ea typeface="Simplon BP" charset="0"/>
                <a:cs typeface="Simplon BP" charset="0"/>
              </a:rPr>
              <a:t>Sim</a:t>
            </a:r>
          </a:p>
        </p:txBody>
      </p:sp>
      <p:sp>
        <p:nvSpPr>
          <p:cNvPr id="95" name="CaixaDeTexto 94"/>
          <p:cNvSpPr txBox="1"/>
          <p:nvPr/>
        </p:nvSpPr>
        <p:spPr>
          <a:xfrm>
            <a:off x="8669942" y="130006"/>
            <a:ext cx="360000" cy="19775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r>
              <a:rPr lang="pt-BR" sz="900" dirty="0">
                <a:solidFill>
                  <a:srgbClr val="000000"/>
                </a:solidFill>
                <a:latin typeface="Simplon BP Regular" pitchFamily="2" charset="0"/>
                <a:ea typeface="Simplon BP" charset="0"/>
                <a:cs typeface="Simplon BP" charset="0"/>
              </a:rPr>
              <a:t>Não</a:t>
            </a:r>
          </a:p>
        </p:txBody>
      </p:sp>
      <p:sp>
        <p:nvSpPr>
          <p:cNvPr id="161" name="TextBox 11"/>
          <p:cNvSpPr txBox="1"/>
          <p:nvPr/>
        </p:nvSpPr>
        <p:spPr>
          <a:xfrm>
            <a:off x="4468701" y="1114887"/>
            <a:ext cx="4509730" cy="2088000"/>
          </a:xfrm>
          <a:prstGeom prst="roundRect">
            <a:avLst>
              <a:gd name="adj" fmla="val 1675"/>
            </a:avLst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defTabSz="914378">
              <a:defRPr/>
            </a:pPr>
            <a:endParaRPr lang="pt-BR" sz="1200" kern="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162" name="Title 22"/>
          <p:cNvSpPr txBox="1">
            <a:spLocks/>
          </p:cNvSpPr>
          <p:nvPr/>
        </p:nvSpPr>
        <p:spPr>
          <a:xfrm>
            <a:off x="4741943" y="1000970"/>
            <a:ext cx="1110663" cy="16946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defTabSz="457189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1100" b="1" i="0" dirty="0">
                <a:solidFill>
                  <a:srgbClr val="FF6D00"/>
                </a:solidFill>
                <a:latin typeface="Simplon BP Bold"/>
                <a:cs typeface="Simplon BP Bold"/>
              </a:rPr>
              <a:t>FINANCEIRO (MM)</a:t>
            </a:r>
          </a:p>
        </p:txBody>
      </p:sp>
      <p:sp>
        <p:nvSpPr>
          <p:cNvPr id="163" name="CaixaDeTexto 162"/>
          <p:cNvSpPr txBox="1"/>
          <p:nvPr/>
        </p:nvSpPr>
        <p:spPr>
          <a:xfrm>
            <a:off x="4519978" y="1197291"/>
            <a:ext cx="2487115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100" b="1" dirty="0">
                <a:solidFill>
                  <a:srgbClr val="FF6D00"/>
                </a:solidFill>
                <a:latin typeface="Simplon BP Bold"/>
                <a:cs typeface="Simplon BP Bold"/>
              </a:rPr>
              <a:t>ORÇAMENTO </a:t>
            </a:r>
            <a:r>
              <a:rPr lang="en-US" sz="1100" b="1" dirty="0" smtClean="0">
                <a:latin typeface="Simplon BP Bold"/>
                <a:cs typeface="Simplon BP Bold"/>
              </a:rPr>
              <a:t>(TOTAL: 5MM</a:t>
            </a:r>
            <a:r>
              <a:rPr lang="en-US" sz="1100" b="1" dirty="0">
                <a:latin typeface="Simplon BP Bold"/>
                <a:cs typeface="Simplon BP Bold"/>
              </a:rPr>
              <a:t>)</a:t>
            </a:r>
            <a:endParaRPr lang="pt-BR" sz="1200" dirty="0"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sp>
        <p:nvSpPr>
          <p:cNvPr id="164" name="TextBox 11"/>
          <p:cNvSpPr txBox="1"/>
          <p:nvPr/>
        </p:nvSpPr>
        <p:spPr>
          <a:xfrm>
            <a:off x="4478430" y="513128"/>
            <a:ext cx="4509730" cy="404295"/>
          </a:xfrm>
          <a:prstGeom prst="roundRect">
            <a:avLst>
              <a:gd name="adj" fmla="val 2924"/>
            </a:avLst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pPr defTabSz="914378">
              <a:defRPr/>
            </a:pPr>
            <a:endParaRPr lang="pt-BR" sz="1200" b="1" kern="0" dirty="0">
              <a:solidFill>
                <a:srgbClr val="000000"/>
              </a:solidFill>
              <a:latin typeface="Simplon BP Regular"/>
              <a:cs typeface="Simplon BP Regular"/>
            </a:endParaRPr>
          </a:p>
          <a:p>
            <a:pPr defTabSz="914378">
              <a:defRPr/>
            </a:pPr>
            <a:endParaRPr lang="pt-BR" sz="1200" b="1" kern="0" dirty="0">
              <a:solidFill>
                <a:srgbClr val="000000"/>
              </a:solidFill>
              <a:latin typeface="Simplon BP Regular"/>
              <a:cs typeface="Simplon BP Regular"/>
            </a:endParaRPr>
          </a:p>
        </p:txBody>
      </p:sp>
      <p:sp>
        <p:nvSpPr>
          <p:cNvPr id="165" name="Title 22"/>
          <p:cNvSpPr txBox="1">
            <a:spLocks/>
          </p:cNvSpPr>
          <p:nvPr/>
        </p:nvSpPr>
        <p:spPr>
          <a:xfrm>
            <a:off x="4519977" y="654490"/>
            <a:ext cx="1262314" cy="180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1200" b="1" i="0" dirty="0">
                <a:solidFill>
                  <a:srgbClr val="FF6D00"/>
                </a:solidFill>
                <a:latin typeface="Simplon BP Bold"/>
                <a:cs typeface="Simplon BP Bold"/>
              </a:rPr>
              <a:t>N2</a:t>
            </a:r>
            <a:endParaRPr lang="en-US" sz="1200" b="1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66" name="Title 22"/>
          <p:cNvSpPr txBox="1">
            <a:spLocks/>
          </p:cNvSpPr>
          <p:nvPr/>
        </p:nvSpPr>
        <p:spPr>
          <a:xfrm>
            <a:off x="4612594" y="430636"/>
            <a:ext cx="1080000" cy="1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algn="ctr" defTabSz="457189">
              <a:lnSpc>
                <a:spcPct val="100000"/>
              </a:lnSpc>
              <a:spcBef>
                <a:spcPts val="0"/>
              </a:spcBef>
              <a:defRPr/>
            </a:pPr>
            <a:r>
              <a:rPr lang="pt-BR" sz="1200" b="1" i="0" dirty="0">
                <a:solidFill>
                  <a:srgbClr val="FF6D00"/>
                </a:solidFill>
                <a:latin typeface="Simplon BP Bold"/>
                <a:cs typeface="Simplon BP Bold"/>
              </a:rPr>
              <a:t>SOLICITANTE</a:t>
            </a:r>
            <a:endParaRPr lang="en-US" sz="1200" b="1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67" name="TextBox 11"/>
          <p:cNvSpPr txBox="1"/>
          <p:nvPr/>
        </p:nvSpPr>
        <p:spPr>
          <a:xfrm>
            <a:off x="4807146" y="620334"/>
            <a:ext cx="3724805" cy="231019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36000" tIns="36000" rIns="36000" bIns="72000" rtlCol="0" anchor="ctr" anchorCtr="0">
            <a:noAutofit/>
          </a:bodyPr>
          <a:lstStyle/>
          <a:p>
            <a:r>
              <a:rPr lang="pt-BR" sz="1100" dirty="0" smtClean="0">
                <a:latin typeface="Simplon BP Regular" pitchFamily="2" charset="0"/>
              </a:rPr>
              <a:t>Andre Ituassu</a:t>
            </a:r>
            <a:endParaRPr lang="pt-BR" sz="1100" dirty="0">
              <a:latin typeface="Simplon BP Regular" pitchFamily="2" charset="0"/>
            </a:endParaRPr>
          </a:p>
        </p:txBody>
      </p:sp>
      <p:sp>
        <p:nvSpPr>
          <p:cNvPr id="168" name="TextBox 11"/>
          <p:cNvSpPr txBox="1"/>
          <p:nvPr/>
        </p:nvSpPr>
        <p:spPr>
          <a:xfrm>
            <a:off x="5619633" y="1607719"/>
            <a:ext cx="100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en-US"/>
            </a:defPPr>
            <a:lvl1pPr lvl="0" algn="ctr" defTabSz="914400">
              <a:defRPr sz="1200" kern="0">
                <a:solidFill>
                  <a:srgbClr val="000000"/>
                </a:solidFill>
                <a:latin typeface="Simplon BP Regular"/>
              </a:defRPr>
            </a:lvl1pPr>
          </a:lstStyle>
          <a:p>
            <a:r>
              <a:rPr lang="pt-BR" dirty="0" smtClean="0"/>
              <a:t>0MM</a:t>
            </a:r>
            <a:endParaRPr lang="pt-BR" dirty="0"/>
          </a:p>
        </p:txBody>
      </p:sp>
      <p:sp>
        <p:nvSpPr>
          <p:cNvPr id="169" name="TextBox 11"/>
          <p:cNvSpPr txBox="1"/>
          <p:nvPr/>
        </p:nvSpPr>
        <p:spPr>
          <a:xfrm>
            <a:off x="6718021" y="1607719"/>
            <a:ext cx="100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en-US"/>
            </a:defPPr>
            <a:lvl1pPr lvl="0" algn="ctr" defTabSz="914400">
              <a:defRPr sz="1200" kern="0">
                <a:solidFill>
                  <a:srgbClr val="000000"/>
                </a:solidFill>
                <a:latin typeface="Simplon BP Regular"/>
              </a:defRPr>
            </a:lvl1pPr>
          </a:lstStyle>
          <a:p>
            <a:r>
              <a:rPr lang="pt-BR" dirty="0"/>
              <a:t> </a:t>
            </a:r>
            <a:r>
              <a:rPr lang="pt-BR" dirty="0" smtClean="0"/>
              <a:t>5MM</a:t>
            </a:r>
            <a:endParaRPr lang="pt-BR" dirty="0"/>
          </a:p>
        </p:txBody>
      </p:sp>
      <p:sp>
        <p:nvSpPr>
          <p:cNvPr id="170" name="TextBox 11"/>
          <p:cNvSpPr txBox="1"/>
          <p:nvPr/>
        </p:nvSpPr>
        <p:spPr>
          <a:xfrm>
            <a:off x="7803565" y="1607719"/>
            <a:ext cx="100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en-US"/>
            </a:defPPr>
            <a:lvl1pPr lvl="0" algn="ctr" defTabSz="914400">
              <a:defRPr sz="1200" kern="0">
                <a:solidFill>
                  <a:srgbClr val="000000"/>
                </a:solidFill>
                <a:latin typeface="Simplon BP Regular"/>
              </a:defRPr>
            </a:lvl1pPr>
          </a:lstStyle>
          <a:p>
            <a:r>
              <a:rPr lang="pt-BR" dirty="0" smtClean="0"/>
              <a:t>0MM</a:t>
            </a:r>
            <a:endParaRPr lang="pt-BR" dirty="0"/>
          </a:p>
        </p:txBody>
      </p:sp>
      <p:sp>
        <p:nvSpPr>
          <p:cNvPr id="171" name="CaixaDeTexto 170"/>
          <p:cNvSpPr txBox="1"/>
          <p:nvPr/>
        </p:nvSpPr>
        <p:spPr>
          <a:xfrm>
            <a:off x="5725167" y="1780432"/>
            <a:ext cx="792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>
                <a:latin typeface="Simplon BP Regular" pitchFamily="2" charset="0"/>
                <a:ea typeface="Simplon BP" charset="0"/>
                <a:cs typeface="Simplon BP" charset="0"/>
              </a:rPr>
              <a:t>Aprovado</a:t>
            </a:r>
          </a:p>
        </p:txBody>
      </p:sp>
      <p:sp>
        <p:nvSpPr>
          <p:cNvPr id="172" name="CaixaDeTexto 171"/>
          <p:cNvSpPr txBox="1"/>
          <p:nvPr/>
        </p:nvSpPr>
        <p:spPr>
          <a:xfrm>
            <a:off x="6715555" y="1767287"/>
            <a:ext cx="1008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>
                <a:latin typeface="Simplon BP Regular" pitchFamily="2" charset="0"/>
                <a:ea typeface="Simplon BP" charset="0"/>
                <a:cs typeface="Simplon BP" charset="0"/>
              </a:rPr>
              <a:t>Em aprovação</a:t>
            </a:r>
          </a:p>
        </p:txBody>
      </p:sp>
      <p:sp>
        <p:nvSpPr>
          <p:cNvPr id="173" name="CaixaDeTexto 172"/>
          <p:cNvSpPr txBox="1"/>
          <p:nvPr/>
        </p:nvSpPr>
        <p:spPr>
          <a:xfrm>
            <a:off x="7801099" y="1767287"/>
            <a:ext cx="1008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>
                <a:latin typeface="Simplon BP Regular" pitchFamily="2" charset="0"/>
                <a:ea typeface="Simplon BP" charset="0"/>
                <a:cs typeface="Simplon BP" charset="0"/>
              </a:rPr>
              <a:t>A aprovar</a:t>
            </a:r>
          </a:p>
        </p:txBody>
      </p:sp>
      <p:sp>
        <p:nvSpPr>
          <p:cNvPr id="174" name="CaixaDeTexto 173"/>
          <p:cNvSpPr txBox="1"/>
          <p:nvPr/>
        </p:nvSpPr>
        <p:spPr>
          <a:xfrm>
            <a:off x="4519978" y="2575474"/>
            <a:ext cx="2487115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100" b="1" dirty="0">
                <a:solidFill>
                  <a:srgbClr val="FF6D00"/>
                </a:solidFill>
                <a:latin typeface="Simplon BP Bold"/>
                <a:cs typeface="Simplon BP Bold"/>
              </a:rPr>
              <a:t>REALIZAÇÃO – EM APROVAÇÃO (MM)</a:t>
            </a:r>
            <a:endParaRPr lang="pt-BR" sz="1100" dirty="0">
              <a:solidFill>
                <a:srgbClr val="000000"/>
              </a:solidFill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sp>
        <p:nvSpPr>
          <p:cNvPr id="175" name="TextBox 11"/>
          <p:cNvSpPr txBox="1"/>
          <p:nvPr/>
        </p:nvSpPr>
        <p:spPr>
          <a:xfrm>
            <a:off x="4577546" y="2828477"/>
            <a:ext cx="118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14378"/>
            <a:r>
              <a:rPr lang="pt-BR" sz="1200" kern="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5MM</a:t>
            </a:r>
            <a:endParaRPr lang="pt-BR" sz="1200" kern="0" dirty="0">
              <a:solidFill>
                <a:srgbClr val="000000"/>
              </a:solidFill>
              <a:latin typeface="Simplon BP Regular"/>
              <a:cs typeface="Simplon BP Regular"/>
            </a:endParaRPr>
          </a:p>
        </p:txBody>
      </p:sp>
      <p:sp>
        <p:nvSpPr>
          <p:cNvPr id="176" name="TextBox 11"/>
          <p:cNvSpPr txBox="1"/>
          <p:nvPr/>
        </p:nvSpPr>
        <p:spPr>
          <a:xfrm>
            <a:off x="5946101" y="2828477"/>
            <a:ext cx="118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14378"/>
            <a:r>
              <a:rPr lang="pt-BR" sz="1200" kern="0" dirty="0">
                <a:solidFill>
                  <a:srgbClr val="000000"/>
                </a:solidFill>
                <a:latin typeface="Simplon BP Regular"/>
                <a:cs typeface="Simplon BP Regular"/>
              </a:rPr>
              <a:t>0</a:t>
            </a:r>
          </a:p>
        </p:txBody>
      </p:sp>
      <p:sp>
        <p:nvSpPr>
          <p:cNvPr id="177" name="TextBox 11"/>
          <p:cNvSpPr txBox="1"/>
          <p:nvPr/>
        </p:nvSpPr>
        <p:spPr>
          <a:xfrm>
            <a:off x="7314657" y="2828477"/>
            <a:ext cx="118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14378">
              <a:defRPr/>
            </a:pPr>
            <a:r>
              <a:rPr lang="pt-BR" sz="1200" kern="0" dirty="0">
                <a:solidFill>
                  <a:srgbClr val="000000"/>
                </a:solidFill>
                <a:latin typeface="Simplon BP Regular"/>
                <a:cs typeface="Simplon BP Regular"/>
              </a:rPr>
              <a:t>0</a:t>
            </a:r>
          </a:p>
        </p:txBody>
      </p:sp>
      <p:sp>
        <p:nvSpPr>
          <p:cNvPr id="178" name="CaixaDeTexto 177"/>
          <p:cNvSpPr txBox="1"/>
          <p:nvPr/>
        </p:nvSpPr>
        <p:spPr>
          <a:xfrm>
            <a:off x="4775546" y="3012541"/>
            <a:ext cx="792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900" b="1" dirty="0" smtClean="0">
                <a:latin typeface="Simplon BP Regular" pitchFamily="2" charset="0"/>
                <a:ea typeface="Simplon BP" charset="0"/>
                <a:cs typeface="Simplon BP" charset="0"/>
              </a:rPr>
              <a:t>2018</a:t>
            </a:r>
            <a:endParaRPr lang="pt-BR" sz="900" b="1" dirty="0"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sp>
        <p:nvSpPr>
          <p:cNvPr id="179" name="CaixaDeTexto 178"/>
          <p:cNvSpPr txBox="1"/>
          <p:nvPr/>
        </p:nvSpPr>
        <p:spPr>
          <a:xfrm>
            <a:off x="6036101" y="3020662"/>
            <a:ext cx="1008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900" b="1" dirty="0" smtClean="0">
                <a:latin typeface="Simplon BP Regular" pitchFamily="2" charset="0"/>
                <a:ea typeface="Simplon BP" charset="0"/>
                <a:cs typeface="Simplon BP" charset="0"/>
              </a:rPr>
              <a:t>2019</a:t>
            </a:r>
            <a:endParaRPr lang="pt-BR" sz="900" b="1" dirty="0"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sp>
        <p:nvSpPr>
          <p:cNvPr id="180" name="CaixaDeTexto 179"/>
          <p:cNvSpPr txBox="1"/>
          <p:nvPr/>
        </p:nvSpPr>
        <p:spPr>
          <a:xfrm>
            <a:off x="7404657" y="3020662"/>
            <a:ext cx="1008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900" b="1" dirty="0" smtClean="0">
                <a:latin typeface="Simplon BP Regular" pitchFamily="2" charset="0"/>
                <a:ea typeface="Simplon BP" charset="0"/>
                <a:cs typeface="Simplon BP" charset="0"/>
              </a:rPr>
              <a:t>2020</a:t>
            </a:r>
            <a:endParaRPr lang="pt-BR" sz="900" b="1" dirty="0"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graphicFrame>
        <p:nvGraphicFramePr>
          <p:cNvPr id="181" name="Tabela 1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199793"/>
              </p:ext>
            </p:extLst>
          </p:nvPr>
        </p:nvGraphicFramePr>
        <p:xfrm>
          <a:off x="4507905" y="3357185"/>
          <a:ext cx="1439164" cy="1546152"/>
        </p:xfrm>
        <a:graphic>
          <a:graphicData uri="http://schemas.openxmlformats.org/drawingml/2006/table">
            <a:tbl>
              <a:tblPr/>
              <a:tblGrid>
                <a:gridCol w="359164"/>
                <a:gridCol w="1080000"/>
              </a:tblGrid>
              <a:tr h="221164">
                <a:tc gridSpan="2">
                  <a:txBody>
                    <a:bodyPr/>
                    <a:lstStyle/>
                    <a:p>
                      <a:pPr algn="l"/>
                      <a:r>
                        <a:rPr lang="pt-BR" sz="1100" b="1" dirty="0" smtClean="0">
                          <a:solidFill>
                            <a:schemeClr val="accent3"/>
                          </a:solidFill>
                          <a:latin typeface="Simplon BP Bold" pitchFamily="2" charset="0"/>
                        </a:rPr>
                        <a:t>BENEFÍCIO</a:t>
                      </a:r>
                      <a:endParaRPr lang="pt-BR" sz="1100" b="1" dirty="0">
                        <a:solidFill>
                          <a:schemeClr val="accent3"/>
                        </a:solidFill>
                        <a:latin typeface="Simplon BP Bold" pitchFamily="2" charset="0"/>
                      </a:endParaRPr>
                    </a:p>
                  </a:txBody>
                  <a:tcPr marL="72000" marR="0" marT="0" marB="0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 sz="1100" dirty="0">
                        <a:latin typeface="Simplon BP Regular" pitchFamily="2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mpd="sng">
                      <a:solidFill>
                        <a:schemeClr val="accent3"/>
                      </a:solidFill>
                      <a:prstDash val="solid"/>
                    </a:lnR>
                    <a:lnT w="9525" cmpd="sng">
                      <a:solidFill>
                        <a:schemeClr val="accent3"/>
                      </a:solidFill>
                      <a:prstDash val="soli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85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implon BP Regular" pitchFamily="2" charset="0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>
                          <a:latin typeface="Simplon BP Regular" pitchFamily="2" charset="0"/>
                        </a:rPr>
                        <a:t>Custo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75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implon BP Regular" pitchFamily="2" charset="0"/>
                          <a:ea typeface="+mn-ea"/>
                          <a:cs typeface="+mn-cs"/>
                        </a:rPr>
                        <a:t>X</a:t>
                      </a:r>
                      <a:endParaRPr kumimoji="0" lang="pt-B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>
                          <a:latin typeface="Simplon BP Regular" pitchFamily="2" charset="0"/>
                        </a:rPr>
                        <a:t>Qualidade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85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implon BP Regular" pitchFamily="2" charset="0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>
                          <a:latin typeface="Simplon BP Regular" pitchFamily="2" charset="0"/>
                        </a:rPr>
                        <a:t>Melhoria Operação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85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>
                          <a:latin typeface="Simplon BP Regular" pitchFamily="2" charset="0"/>
                        </a:rPr>
                        <a:t>Obrigação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85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implon BP Regular" pitchFamily="2" charset="0"/>
                          <a:ea typeface="+mn-ea"/>
                          <a:cs typeface="+mn-cs"/>
                        </a:rPr>
                        <a:t>X</a:t>
                      </a:r>
                      <a:endParaRPr kumimoji="0" lang="pt-B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000" dirty="0" smtClean="0">
                          <a:latin typeface="Simplon BP Regular" pitchFamily="2" charset="0"/>
                        </a:rPr>
                        <a:t>Receita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2" name="CaixaDeTexto 41"/>
          <p:cNvSpPr txBox="1"/>
          <p:nvPr/>
        </p:nvSpPr>
        <p:spPr>
          <a:xfrm>
            <a:off x="6517167" y="88433"/>
            <a:ext cx="1514859" cy="26123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r>
              <a:rPr lang="pt-BR" sz="1100" b="1" dirty="0">
                <a:solidFill>
                  <a:srgbClr val="000000"/>
                </a:solidFill>
                <a:latin typeface="Simplon BP Regular" pitchFamily="2" charset="0"/>
                <a:ea typeface="Simplon BP" charset="0"/>
                <a:cs typeface="Simplon BP" charset="0"/>
              </a:rPr>
              <a:t>Plano </a:t>
            </a:r>
            <a:r>
              <a:rPr lang="pt-BR" sz="1100" b="1" dirty="0" smtClean="0">
                <a:solidFill>
                  <a:srgbClr val="000000"/>
                </a:solidFill>
                <a:latin typeface="Simplon BP Regular" pitchFamily="2" charset="0"/>
                <a:ea typeface="Simplon BP" charset="0"/>
                <a:cs typeface="Simplon BP" charset="0"/>
              </a:rPr>
              <a:t>Orçamento 2018: </a:t>
            </a:r>
            <a:endParaRPr lang="pt-BR" sz="1100" b="1" dirty="0">
              <a:solidFill>
                <a:srgbClr val="000000"/>
              </a:solidFill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sp>
        <p:nvSpPr>
          <p:cNvPr id="46" name="TextBox 11"/>
          <p:cNvSpPr txBox="1"/>
          <p:nvPr/>
        </p:nvSpPr>
        <p:spPr>
          <a:xfrm>
            <a:off x="5619633" y="2156354"/>
            <a:ext cx="100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en-US"/>
            </a:defPPr>
            <a:lvl1pPr lvl="0" algn="ctr" defTabSz="914400">
              <a:defRPr sz="1200" kern="0">
                <a:solidFill>
                  <a:srgbClr val="000000"/>
                </a:solidFill>
                <a:latin typeface="Simplon BP Regular"/>
              </a:defRPr>
            </a:lvl1pPr>
          </a:lstStyle>
          <a:p>
            <a:r>
              <a:rPr lang="pt-BR" dirty="0" smtClean="0"/>
              <a:t>0MM</a:t>
            </a:r>
            <a:endParaRPr lang="pt-BR" dirty="0"/>
          </a:p>
        </p:txBody>
      </p:sp>
      <p:sp>
        <p:nvSpPr>
          <p:cNvPr id="47" name="TextBox 11"/>
          <p:cNvSpPr txBox="1"/>
          <p:nvPr/>
        </p:nvSpPr>
        <p:spPr>
          <a:xfrm>
            <a:off x="6718021" y="2156354"/>
            <a:ext cx="100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en-US"/>
            </a:defPPr>
            <a:lvl1pPr lvl="0" algn="ctr" defTabSz="914400">
              <a:defRPr sz="1200" kern="0">
                <a:solidFill>
                  <a:srgbClr val="000000"/>
                </a:solidFill>
                <a:latin typeface="Simplon BP Regular"/>
              </a:defRPr>
            </a:lvl1pPr>
          </a:lstStyle>
          <a:p>
            <a:r>
              <a:rPr lang="pt-BR" dirty="0"/>
              <a:t> </a:t>
            </a:r>
            <a:r>
              <a:rPr lang="pt-BR" dirty="0" smtClean="0"/>
              <a:t>0MM</a:t>
            </a:r>
            <a:endParaRPr lang="pt-BR" dirty="0"/>
          </a:p>
        </p:txBody>
      </p:sp>
      <p:sp>
        <p:nvSpPr>
          <p:cNvPr id="48" name="TextBox 11"/>
          <p:cNvSpPr txBox="1"/>
          <p:nvPr/>
        </p:nvSpPr>
        <p:spPr>
          <a:xfrm>
            <a:off x="7803565" y="2156354"/>
            <a:ext cx="1008000" cy="180000"/>
          </a:xfrm>
          <a:prstGeom prst="rect">
            <a:avLst/>
          </a:prstGeom>
          <a:noFill/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en-US"/>
            </a:defPPr>
            <a:lvl1pPr lvl="0" algn="ctr" defTabSz="914400">
              <a:defRPr sz="1200" kern="0">
                <a:solidFill>
                  <a:srgbClr val="000000"/>
                </a:solidFill>
                <a:latin typeface="Simplon BP Regular"/>
              </a:defRPr>
            </a:lvl1pPr>
          </a:lstStyle>
          <a:p>
            <a:r>
              <a:rPr lang="pt-BR" dirty="0" smtClean="0"/>
              <a:t>0MM</a:t>
            </a:r>
            <a:endParaRPr lang="pt-BR" dirty="0"/>
          </a:p>
        </p:txBody>
      </p:sp>
      <p:sp>
        <p:nvSpPr>
          <p:cNvPr id="49" name="CaixaDeTexto 48"/>
          <p:cNvSpPr txBox="1"/>
          <p:nvPr/>
        </p:nvSpPr>
        <p:spPr>
          <a:xfrm>
            <a:off x="5725167" y="2329067"/>
            <a:ext cx="792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>
                <a:latin typeface="Simplon BP Regular" pitchFamily="2" charset="0"/>
                <a:ea typeface="Simplon BP" charset="0"/>
                <a:cs typeface="Simplon BP" charset="0"/>
              </a:rPr>
              <a:t>Aprovado</a:t>
            </a:r>
          </a:p>
        </p:txBody>
      </p:sp>
      <p:sp>
        <p:nvSpPr>
          <p:cNvPr id="50" name="CaixaDeTexto 49"/>
          <p:cNvSpPr txBox="1"/>
          <p:nvPr/>
        </p:nvSpPr>
        <p:spPr>
          <a:xfrm>
            <a:off x="6715555" y="2315922"/>
            <a:ext cx="1008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>
                <a:latin typeface="Simplon BP Regular" pitchFamily="2" charset="0"/>
                <a:ea typeface="Simplon BP" charset="0"/>
                <a:cs typeface="Simplon BP" charset="0"/>
              </a:rPr>
              <a:t>Em aprovação</a:t>
            </a:r>
          </a:p>
        </p:txBody>
      </p:sp>
      <p:sp>
        <p:nvSpPr>
          <p:cNvPr id="51" name="CaixaDeTexto 50"/>
          <p:cNvSpPr txBox="1"/>
          <p:nvPr/>
        </p:nvSpPr>
        <p:spPr>
          <a:xfrm>
            <a:off x="7801099" y="2315922"/>
            <a:ext cx="1008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>
                <a:latin typeface="Simplon BP Regular" pitchFamily="2" charset="0"/>
                <a:ea typeface="Simplon BP" charset="0"/>
                <a:cs typeface="Simplon BP" charset="0"/>
              </a:rPr>
              <a:t>A aprovar</a:t>
            </a:r>
          </a:p>
        </p:txBody>
      </p:sp>
      <p:sp>
        <p:nvSpPr>
          <p:cNvPr id="52" name="TextBox 11"/>
          <p:cNvSpPr txBox="1"/>
          <p:nvPr/>
        </p:nvSpPr>
        <p:spPr>
          <a:xfrm>
            <a:off x="4519978" y="1607719"/>
            <a:ext cx="1008000" cy="180000"/>
          </a:xfrm>
          <a:prstGeom prst="rect">
            <a:avLst/>
          </a:prstGeom>
          <a:solidFill>
            <a:srgbClr val="FF6D00">
              <a:alpha val="50196"/>
            </a:srgbClr>
          </a:solidFill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en-US"/>
            </a:defPPr>
            <a:lvl1pPr lvl="0" algn="ctr" defTabSz="914400" fontAlgn="ctr">
              <a:defRPr sz="1200" b="0" kern="0">
                <a:solidFill>
                  <a:srgbClr val="000000"/>
                </a:solidFill>
                <a:latin typeface="Simplon BP Regular"/>
              </a:defRPr>
            </a:lvl1pPr>
          </a:lstStyle>
          <a:p>
            <a:r>
              <a:rPr lang="pt-BR" dirty="0" smtClean="0"/>
              <a:t>5MM</a:t>
            </a:r>
            <a:endParaRPr lang="pt-BR" dirty="0"/>
          </a:p>
        </p:txBody>
      </p:sp>
      <p:sp>
        <p:nvSpPr>
          <p:cNvPr id="53" name="CaixaDeTexto 52"/>
          <p:cNvSpPr txBox="1"/>
          <p:nvPr/>
        </p:nvSpPr>
        <p:spPr>
          <a:xfrm>
            <a:off x="4635786" y="1780432"/>
            <a:ext cx="792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Simplon BP Regular" pitchFamily="2" charset="0"/>
                <a:ea typeface="Simplon BP" charset="0"/>
                <a:cs typeface="Simplon BP" charset="0"/>
              </a:rPr>
              <a:t>Total</a:t>
            </a:r>
            <a:endParaRPr lang="pt-BR" sz="800" b="1" dirty="0"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sp>
        <p:nvSpPr>
          <p:cNvPr id="54" name="TextBox 11"/>
          <p:cNvSpPr txBox="1"/>
          <p:nvPr/>
        </p:nvSpPr>
        <p:spPr>
          <a:xfrm>
            <a:off x="4519978" y="2156354"/>
            <a:ext cx="1008000" cy="180000"/>
          </a:xfrm>
          <a:prstGeom prst="rect">
            <a:avLst/>
          </a:prstGeom>
          <a:solidFill>
            <a:srgbClr val="FF6D00">
              <a:alpha val="50196"/>
            </a:srgbClr>
          </a:solidFill>
          <a:ln>
            <a:solidFill>
              <a:srgbClr val="FF6D00">
                <a:lumMod val="60000"/>
                <a:lumOff val="40000"/>
              </a:srgbClr>
            </a:solidFill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en-US"/>
            </a:defPPr>
            <a:lvl1pPr lvl="0" algn="ctr" defTabSz="914400" fontAlgn="ctr">
              <a:defRPr sz="1200" b="0" kern="0">
                <a:solidFill>
                  <a:srgbClr val="000000"/>
                </a:solidFill>
                <a:latin typeface="Simplon BP Regular"/>
              </a:defRPr>
            </a:lvl1pPr>
          </a:lstStyle>
          <a:p>
            <a:r>
              <a:rPr lang="pt-BR" dirty="0" smtClean="0"/>
              <a:t>0MM</a:t>
            </a:r>
            <a:endParaRPr lang="pt-BR" dirty="0"/>
          </a:p>
        </p:txBody>
      </p:sp>
      <p:sp>
        <p:nvSpPr>
          <p:cNvPr id="55" name="CaixaDeTexto 54"/>
          <p:cNvSpPr txBox="1"/>
          <p:nvPr/>
        </p:nvSpPr>
        <p:spPr>
          <a:xfrm>
            <a:off x="4635786" y="2329067"/>
            <a:ext cx="792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Simplon BP Regular" pitchFamily="2" charset="0"/>
                <a:ea typeface="Simplon BP" charset="0"/>
                <a:cs typeface="Simplon BP" charset="0"/>
              </a:rPr>
              <a:t>Total</a:t>
            </a:r>
            <a:endParaRPr lang="pt-BR" sz="800" b="1" dirty="0"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sp>
        <p:nvSpPr>
          <p:cNvPr id="56" name="CaixaDeTexto 55"/>
          <p:cNvSpPr txBox="1"/>
          <p:nvPr/>
        </p:nvSpPr>
        <p:spPr>
          <a:xfrm>
            <a:off x="4519977" y="1442749"/>
            <a:ext cx="1426124" cy="16497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r>
              <a:rPr lang="pt-BR" sz="1000" b="1" dirty="0" smtClean="0">
                <a:latin typeface="Simplon BP Regular" pitchFamily="2" charset="0"/>
                <a:ea typeface="Simplon BP" charset="0"/>
                <a:cs typeface="Simplon BP" charset="0"/>
              </a:rPr>
              <a:t>Plano Orçamento 2018</a:t>
            </a:r>
            <a:endParaRPr lang="pt-BR" sz="1000" b="1" dirty="0"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sp>
        <p:nvSpPr>
          <p:cNvPr id="57" name="CaixaDeTexto 56"/>
          <p:cNvSpPr txBox="1"/>
          <p:nvPr/>
        </p:nvSpPr>
        <p:spPr>
          <a:xfrm>
            <a:off x="4519976" y="2007994"/>
            <a:ext cx="756000" cy="18000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r>
              <a:rPr lang="pt-BR" sz="1000" b="1" dirty="0" smtClean="0">
                <a:latin typeface="Simplon BP Regular" pitchFamily="2" charset="0"/>
                <a:ea typeface="Simplon BP" charset="0"/>
                <a:cs typeface="Simplon BP" charset="0"/>
              </a:rPr>
              <a:t>Extra Plano</a:t>
            </a:r>
            <a:endParaRPr lang="pt-BR" sz="1000" b="1" dirty="0">
              <a:latin typeface="Simplon BP Regular" pitchFamily="2" charset="0"/>
              <a:ea typeface="Simplon BP" charset="0"/>
              <a:cs typeface="Simplon BP" charset="0"/>
            </a:endParaRPr>
          </a:p>
        </p:txBody>
      </p:sp>
      <p:graphicFrame>
        <p:nvGraphicFramePr>
          <p:cNvPr id="60" name="Tabela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7082090"/>
              </p:ext>
            </p:extLst>
          </p:nvPr>
        </p:nvGraphicFramePr>
        <p:xfrm>
          <a:off x="6035315" y="3357187"/>
          <a:ext cx="1440000" cy="1535224"/>
        </p:xfrm>
        <a:graphic>
          <a:graphicData uri="http://schemas.openxmlformats.org/drawingml/2006/table">
            <a:tbl>
              <a:tblPr/>
              <a:tblGrid>
                <a:gridCol w="360000"/>
                <a:gridCol w="1080000"/>
              </a:tblGrid>
              <a:tr h="210236">
                <a:tc gridSpan="2">
                  <a:txBody>
                    <a:bodyPr/>
                    <a:lstStyle/>
                    <a:p>
                      <a:pPr algn="l"/>
                      <a:r>
                        <a:rPr lang="pt-BR" sz="1100" b="1" dirty="0" smtClean="0">
                          <a:solidFill>
                            <a:schemeClr val="accent3"/>
                          </a:solidFill>
                          <a:latin typeface="Simplon BP Bold" pitchFamily="2" charset="0"/>
                        </a:rPr>
                        <a:t>CLASSIFICAÇÃO</a:t>
                      </a:r>
                      <a:endParaRPr lang="pt-BR" sz="1100" b="1" dirty="0">
                        <a:solidFill>
                          <a:schemeClr val="accent3"/>
                        </a:solidFill>
                        <a:latin typeface="Simplon BP Bold" pitchFamily="2" charset="0"/>
                      </a:endParaRPr>
                    </a:p>
                  </a:txBody>
                  <a:tcPr marL="72000" marR="0" marT="0" marB="0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 sz="1100" dirty="0">
                        <a:latin typeface="Simplon BP Regular" pitchFamily="2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mpd="sng">
                      <a:solidFill>
                        <a:schemeClr val="accent3"/>
                      </a:solidFill>
                      <a:prstDash val="solid"/>
                    </a:lnR>
                    <a:lnT w="9525" cmpd="sng">
                      <a:solidFill>
                        <a:schemeClr val="accent3"/>
                      </a:solidFill>
                      <a:prstDash val="soli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85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implon BP Regular" pitchFamily="2" charset="0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>
                          <a:latin typeface="Simplon BP Regular" pitchFamily="2" charset="0"/>
                        </a:rPr>
                        <a:t>Desenvolvimento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75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>
                          <a:latin typeface="Simplon BP Regular" pitchFamily="2" charset="0"/>
                        </a:rPr>
                        <a:t>Digital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85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>
                          <a:latin typeface="Simplon BP Regular" pitchFamily="2" charset="0"/>
                        </a:rPr>
                        <a:t>Estruturante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85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000" dirty="0" smtClean="0">
                          <a:latin typeface="Simplon BP Regular" pitchFamily="2" charset="0"/>
                        </a:rPr>
                        <a:t>Licenças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85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pt-B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000" dirty="0" smtClean="0">
                          <a:latin typeface="Simplon BP Regular" pitchFamily="2" charset="0"/>
                        </a:rPr>
                        <a:t>Outros</a:t>
                      </a:r>
                      <a:endParaRPr lang="pt-BR" sz="1000" dirty="0">
                        <a:latin typeface="Simplon BP Regular" pitchFamily="2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3" name="TextBox 11"/>
          <p:cNvSpPr txBox="1"/>
          <p:nvPr/>
        </p:nvSpPr>
        <p:spPr>
          <a:xfrm>
            <a:off x="7594792" y="3374481"/>
            <a:ext cx="1435095" cy="1517929"/>
          </a:xfrm>
          <a:prstGeom prst="roundRect">
            <a:avLst>
              <a:gd name="adj" fmla="val 7644"/>
            </a:avLst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lIns="72000" tIns="72000" rIns="72000" bIns="72000" rtlCol="0">
            <a:noAutofit/>
          </a:bodyPr>
          <a:lstStyle/>
          <a:p>
            <a:r>
              <a:rPr lang="pt-BR" sz="105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AMDOCS</a:t>
            </a:r>
          </a:p>
          <a:p>
            <a:r>
              <a:rPr lang="pt-BR" sz="1050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ACCENTURE</a:t>
            </a:r>
            <a:endParaRPr lang="pt-BR" sz="1050" dirty="0">
              <a:solidFill>
                <a:srgbClr val="000000"/>
              </a:solidFill>
              <a:latin typeface="Simplon BP Regular"/>
              <a:cs typeface="Simplon BP Regular"/>
            </a:endParaRPr>
          </a:p>
        </p:txBody>
      </p:sp>
      <p:sp>
        <p:nvSpPr>
          <p:cNvPr id="64" name="Title 22"/>
          <p:cNvSpPr txBox="1">
            <a:spLocks/>
          </p:cNvSpPr>
          <p:nvPr/>
        </p:nvSpPr>
        <p:spPr>
          <a:xfrm>
            <a:off x="7786521" y="3318557"/>
            <a:ext cx="108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1200" b="1" i="0" dirty="0">
                <a:solidFill>
                  <a:srgbClr val="FF6D00"/>
                </a:solidFill>
                <a:latin typeface="Simplon BP Bold"/>
                <a:cs typeface="Simplon BP Bold"/>
              </a:rPr>
              <a:t>FORNECEDORES</a:t>
            </a:r>
            <a:endParaRPr lang="en-US" sz="1200" b="1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527430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xVGbflkiolOnscdDD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puWCz9kkm6pUAaNkzl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xVGbflkiolOnscdDDp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puWCz9kkm6pUAaNkzl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xVGbflkiolOnscdDD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puWCz9kkm6pUAaNkzl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xVGbflkiolOnscdDD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puWCz9kkm6pUAaNkzl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xVGbflkiolOnscdDD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puWCz9kkm6pUAaNkzl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4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60F32B61-8411-8E48-9B26-6A6D069F256C}"/>
    </a:ext>
  </a:extLst>
</a:theme>
</file>

<file path=ppt/theme/theme11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5_Oi Mestr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3888B414-3C1C-4740-967E-F7D965A3710A}"/>
    </a:ext>
  </a:extLst>
</a:theme>
</file>

<file path=ppt/theme/theme13.xml><?xml version="1.0" encoding="utf-8"?>
<a:theme xmlns:a="http://schemas.openxmlformats.org/drawingml/2006/main" name="5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60F32B61-8411-8E48-9B26-6A6D069F256C}"/>
    </a:ext>
  </a:extLst>
</a:theme>
</file>

<file path=ppt/theme/theme14.xml><?xml version="1.0" encoding="utf-8"?>
<a:theme xmlns:a="http://schemas.openxmlformats.org/drawingml/2006/main" name="6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60F32B61-8411-8E48-9B26-6A6D069F256C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Oi Mestr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3888B414-3C1C-4740-967E-F7D965A3710A}"/>
    </a:ext>
  </a:extLst>
</a:theme>
</file>

<file path=ppt/theme/theme4.xml><?xml version="1.0" encoding="utf-8"?>
<a:theme xmlns:a="http://schemas.openxmlformats.org/drawingml/2006/main" name="2_Oi Mestr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3888B414-3C1C-4740-967E-F7D965A3710A}"/>
    </a:ext>
  </a:extLst>
</a:theme>
</file>

<file path=ppt/theme/theme5.xml><?xml version="1.0" encoding="utf-8"?>
<a:theme xmlns:a="http://schemas.openxmlformats.org/drawingml/2006/main" name="3_Oi Mestr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3888B414-3C1C-4740-967E-F7D965A3710A}"/>
    </a:ext>
  </a:extLst>
</a:theme>
</file>

<file path=ppt/theme/theme6.xml><?xml version="1.0" encoding="utf-8"?>
<a:theme xmlns:a="http://schemas.openxmlformats.org/drawingml/2006/main" name="1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60F32B61-8411-8E48-9B26-6A6D069F256C}"/>
    </a:ext>
  </a:extLst>
</a:theme>
</file>

<file path=ppt/theme/theme7.xml><?xml version="1.0" encoding="utf-8"?>
<a:theme xmlns:a="http://schemas.openxmlformats.org/drawingml/2006/main" name="2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60F32B61-8411-8E48-9B26-6A6D069F256C}"/>
    </a:ext>
  </a:extLst>
</a:theme>
</file>

<file path=ppt/theme/theme8.xml><?xml version="1.0" encoding="utf-8"?>
<a:theme xmlns:a="http://schemas.openxmlformats.org/drawingml/2006/main" name="3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60F32B61-8411-8E48-9B26-6A6D069F256C}"/>
    </a:ext>
  </a:extLst>
</a:theme>
</file>

<file path=ppt/theme/theme9.xml><?xml version="1.0" encoding="utf-8"?>
<a:theme xmlns:a="http://schemas.openxmlformats.org/drawingml/2006/main" name="4_Oi Mestr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3888B414-3C1C-4740-967E-F7D965A371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2D6444F-560F-4AA9-A35D-A120D27E707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E19ECD5-0DA2-4CD7-8EA8-E67E5FDEB3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6072AC2-3B3B-41A6-9F0F-01171572101E}">
  <ds:schemaRefs>
    <ds:schemaRef ds:uri="http://purl.org/dc/dcmitype/"/>
    <ds:schemaRef ds:uri="http://purl.org/dc/terms/"/>
    <ds:schemaRef ds:uri="http://purl.org/dc/elements/1.1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13225</TotalTime>
  <Words>292</Words>
  <Application>Microsoft Office PowerPoint</Application>
  <PresentationFormat>Apresentação na tela (16:9)</PresentationFormat>
  <Paragraphs>80</Paragraphs>
  <Slides>2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1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28" baseType="lpstr"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Regular</vt:lpstr>
      <vt:lpstr>Simplon Oi Headline</vt:lpstr>
      <vt:lpstr>Verdana</vt:lpstr>
      <vt:lpstr>Wingdings</vt:lpstr>
      <vt:lpstr>FBBR0598.TP.130513.PPT</vt:lpstr>
      <vt:lpstr>FBBR0598.TP.130513</vt:lpstr>
      <vt:lpstr>1_Oi Mestre</vt:lpstr>
      <vt:lpstr>2_Oi Mestre</vt:lpstr>
      <vt:lpstr>3_Oi Mestre</vt:lpstr>
      <vt:lpstr>1_Oi Mestre_Laranja</vt:lpstr>
      <vt:lpstr>2_Oi Mestre_Laranja</vt:lpstr>
      <vt:lpstr>3_Oi Mestre_Laranja</vt:lpstr>
      <vt:lpstr>4_Oi Mestre</vt:lpstr>
      <vt:lpstr>4_Oi Mestre_Laranja</vt:lpstr>
      <vt:lpstr>1_FBBR0598.TP.130513</vt:lpstr>
      <vt:lpstr>5_Oi Mestre</vt:lpstr>
      <vt:lpstr>5_Oi Mestre_Laranja</vt:lpstr>
      <vt:lpstr>6_Oi Mestre_Laranja</vt:lpstr>
      <vt:lpstr>Slide do think-cell</vt:lpstr>
      <vt:lpstr>COMITÊ DE GESTÃO 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Vivian Aparecida De Jesus</cp:lastModifiedBy>
  <cp:revision>1152</cp:revision>
  <cp:lastPrinted>2017-06-12T21:33:41Z</cp:lastPrinted>
  <dcterms:created xsi:type="dcterms:W3CDTF">2013-05-14T05:19:21Z</dcterms:created>
  <dcterms:modified xsi:type="dcterms:W3CDTF">2017-12-19T20:4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